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charts/chart2.xml" ContentType="application/vnd.openxmlformats-officedocument.drawingml.chart+xml"/>
  <Override PartName="/ppt/notesSlides/notesSlide4.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charts/chart5.xml" ContentType="application/vnd.openxmlformats-officedocument.drawingml.chart+xml"/>
  <Override PartName="/ppt/notesSlides/notesSlide7.xml" ContentType="application/vnd.openxmlformats-officedocument.presentationml.notesSlide+xml"/>
  <Override PartName="/ppt/charts/chart6.xml" ContentType="application/vnd.openxmlformats-officedocument.drawingml.chart+xml"/>
  <Override PartName="/ppt/notesSlides/notesSlide8.xml" ContentType="application/vnd.openxmlformats-officedocument.presentationml.notesSlide+xml"/>
  <Override PartName="/ppt/charts/chart7.xml" ContentType="application/vnd.openxmlformats-officedocument.drawingml.chart+xml"/>
  <Override PartName="/ppt/notesSlides/notesSlide9.xml" ContentType="application/vnd.openxmlformats-officedocument.presentationml.notesSlide+xml"/>
  <Override PartName="/ppt/charts/chart8.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2.xml" ContentType="application/vnd.openxmlformats-officedocument.presentationml.notesSlide+xml"/>
  <Override PartName="/ppt/charts/chart10.xml" ContentType="application/vnd.openxmlformats-officedocument.drawingml.chart+xml"/>
  <Override PartName="/ppt/theme/themeOverride1.xml" ContentType="application/vnd.openxmlformats-officedocument.themeOverride+xml"/>
  <Override PartName="/ppt/charts/chart11.xml" ContentType="application/vnd.openxmlformats-officedocument.drawingml.chart+xml"/>
  <Override PartName="/ppt/notesSlides/notesSlide13.xml" ContentType="application/vnd.openxmlformats-officedocument.presentationml.notesSlide+xml"/>
  <Override PartName="/ppt/charts/chart12.xml" ContentType="application/vnd.openxmlformats-officedocument.drawingml.chart+xml"/>
  <Override PartName="/ppt/charts/style4.xml" ContentType="application/vnd.ms-office.chartstyle+xml"/>
  <Override PartName="/ppt/charts/colors4.xml" ContentType="application/vnd.ms-office.chartcolorstyle+xml"/>
  <Override PartName="/ppt/charts/chart13.xml" ContentType="application/vnd.openxmlformats-officedocument.drawingml.chart+xml"/>
  <Override PartName="/ppt/theme/themeOverride2.xml" ContentType="application/vnd.openxmlformats-officedocument.themeOverride+xml"/>
  <Override PartName="/ppt/charts/chart14.xml" ContentType="application/vnd.openxmlformats-officedocument.drawingml.chart+xml"/>
  <Override PartName="/ppt/charts/chart15.xml" ContentType="application/vnd.openxmlformats-officedocument.drawingml.chart+xml"/>
  <Override PartName="/ppt/theme/themeOverride3.xml" ContentType="application/vnd.openxmlformats-officedocument.themeOverride+xml"/>
  <Override PartName="/ppt/charts/chart16.xml" ContentType="application/vnd.openxmlformats-officedocument.drawingml.chart+xml"/>
  <Override PartName="/ppt/charts/chart17.xml" ContentType="application/vnd.openxmlformats-officedocument.drawingml.chart+xml"/>
  <Override PartName="/ppt/theme/themeOverride4.xml" ContentType="application/vnd.openxmlformats-officedocument.themeOverride+xml"/>
  <Override PartName="/ppt/charts/chart18.xml" ContentType="application/vnd.openxmlformats-officedocument.drawingml.chart+xml"/>
  <Override PartName="/ppt/notesSlides/notesSlide14.xml" ContentType="application/vnd.openxmlformats-officedocument.presentationml.notesSlide+xml"/>
  <Override PartName="/ppt/charts/chart19.xml" ContentType="application/vnd.openxmlformats-officedocument.drawingml.chart+xml"/>
  <Override PartName="/ppt/charts/style5.xml" ContentType="application/vnd.ms-office.chartstyle+xml"/>
  <Override PartName="/ppt/charts/colors5.xml" ContentType="application/vnd.ms-office.chartcolorstyle+xml"/>
  <Override PartName="/ppt/charts/chart20.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5.xml" ContentType="application/vnd.openxmlformats-officedocument.presentationml.notesSlide+xml"/>
  <Override PartName="/ppt/charts/chart21.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6.xml" ContentType="application/vnd.openxmlformats-officedocument.presentationml.notesSlide+xml"/>
  <Override PartName="/ppt/charts/chart22.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7.xml" ContentType="application/vnd.openxmlformats-officedocument.presentationml.notesSlide+xml"/>
  <Override PartName="/ppt/charts/chart23.xml" ContentType="application/vnd.openxmlformats-officedocument.drawingml.chart+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8" r:id="rId5"/>
  </p:sldMasterIdLst>
  <p:notesMasterIdLst>
    <p:notesMasterId r:id="rId29"/>
  </p:notesMasterIdLst>
  <p:sldIdLst>
    <p:sldId id="3769" r:id="rId6"/>
    <p:sldId id="3799" r:id="rId7"/>
    <p:sldId id="3925" r:id="rId8"/>
    <p:sldId id="7350" r:id="rId9"/>
    <p:sldId id="7019" r:id="rId10"/>
    <p:sldId id="7056" r:id="rId11"/>
    <p:sldId id="7057" r:id="rId12"/>
    <p:sldId id="7007" r:id="rId13"/>
    <p:sldId id="7356" r:id="rId14"/>
    <p:sldId id="3910" r:id="rId15"/>
    <p:sldId id="3777" r:id="rId16"/>
    <p:sldId id="7372" r:id="rId17"/>
    <p:sldId id="7370" r:id="rId18"/>
    <p:sldId id="7375" r:id="rId19"/>
    <p:sldId id="7365" r:id="rId20"/>
    <p:sldId id="7373" r:id="rId21"/>
    <p:sldId id="7374" r:id="rId22"/>
    <p:sldId id="3801" r:id="rId23"/>
    <p:sldId id="7364" r:id="rId24"/>
    <p:sldId id="608" r:id="rId25"/>
    <p:sldId id="6973" r:id="rId26"/>
    <p:sldId id="7351" r:id="rId27"/>
    <p:sldId id="3720"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7464" userDrawn="1">
          <p15:clr>
            <a:srgbClr val="A4A3A4"/>
          </p15:clr>
        </p15:guide>
        <p15:guide id="7" pos="360" userDrawn="1">
          <p15:clr>
            <a:srgbClr val="A4A3A4"/>
          </p15:clr>
        </p15:guide>
        <p15:guide id="8" orient="horz" pos="768" userDrawn="1">
          <p15:clr>
            <a:srgbClr val="A4A3A4"/>
          </p15:clr>
        </p15:guide>
        <p15:guide id="9" orient="horz" pos="1032" userDrawn="1">
          <p15:clr>
            <a:srgbClr val="A4A3A4"/>
          </p15:clr>
        </p15:guide>
        <p15:guide id="12" orient="horz" pos="264" userDrawn="1">
          <p15:clr>
            <a:srgbClr val="A4A3A4"/>
          </p15:clr>
        </p15:guide>
        <p15:guide id="13" pos="3936" userDrawn="1">
          <p15:clr>
            <a:srgbClr val="A4A3A4"/>
          </p15:clr>
        </p15:guide>
        <p15:guide id="14" orient="horz" pos="391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3F3F3F"/>
    <a:srgbClr val="680000"/>
    <a:srgbClr val="FF8181"/>
    <a:srgbClr val="66B7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79E6AA-4827-4B1D-A5B6-33F1314B6803}" v="199" dt="2022-08-22T15:24:14.89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4485" autoAdjust="0"/>
  </p:normalViewPr>
  <p:slideViewPr>
    <p:cSldViewPr snapToGrid="0">
      <p:cViewPr varScale="1">
        <p:scale>
          <a:sx n="100" d="100"/>
          <a:sy n="100" d="100"/>
        </p:scale>
        <p:origin x="2268" y="72"/>
      </p:cViewPr>
      <p:guideLst>
        <p:guide pos="7464"/>
        <p:guide pos="360"/>
        <p:guide orient="horz" pos="768"/>
        <p:guide orient="horz" pos="1032"/>
        <p:guide orient="horz" pos="264"/>
        <p:guide pos="3936"/>
        <p:guide orient="horz" pos="3912"/>
      </p:guideLst>
    </p:cSldViewPr>
  </p:slideViewPr>
  <p:outlineViewPr>
    <p:cViewPr>
      <p:scale>
        <a:sx n="33" d="100"/>
        <a:sy n="33" d="100"/>
      </p:scale>
      <p:origin x="0" y="-17508"/>
    </p:cViewPr>
  </p:outlineViewPr>
  <p:notesTextViewPr>
    <p:cViewPr>
      <p:scale>
        <a:sx n="1" d="1"/>
        <a:sy n="1" d="1"/>
      </p:scale>
      <p:origin x="0" y="0"/>
    </p:cViewPr>
  </p:notesTextViewPr>
  <p:sorterViewPr>
    <p:cViewPr>
      <p:scale>
        <a:sx n="70" d="100"/>
        <a:sy n="7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saac Collazo" userId="9d87d7ef-a5ed-4707-9b98-df90ced858bb" providerId="ADAL" clId="{8679E6AA-4827-4B1D-A5B6-33F1314B6803}"/>
    <pc:docChg chg="undo redo custSel addSld delSld modSld sldOrd">
      <pc:chgData name="Isaac Collazo" userId="9d87d7ef-a5ed-4707-9b98-df90ced858bb" providerId="ADAL" clId="{8679E6AA-4827-4B1D-A5B6-33F1314B6803}" dt="2022-08-22T15:25:06.504" v="1708" actId="478"/>
      <pc:docMkLst>
        <pc:docMk/>
      </pc:docMkLst>
      <pc:sldChg chg="add del">
        <pc:chgData name="Isaac Collazo" userId="9d87d7ef-a5ed-4707-9b98-df90ced858bb" providerId="ADAL" clId="{8679E6AA-4827-4B1D-A5B6-33F1314B6803}" dt="2022-08-17T00:15:06.853" v="47"/>
        <pc:sldMkLst>
          <pc:docMk/>
          <pc:sldMk cId="2226086395" sldId="3720"/>
        </pc:sldMkLst>
      </pc:sldChg>
      <pc:sldChg chg="add del">
        <pc:chgData name="Isaac Collazo" userId="9d87d7ef-a5ed-4707-9b98-df90ced858bb" providerId="ADAL" clId="{8679E6AA-4827-4B1D-A5B6-33F1314B6803}" dt="2022-08-17T00:14:14.689" v="44"/>
        <pc:sldMkLst>
          <pc:docMk/>
          <pc:sldMk cId="1942390467" sldId="3769"/>
        </pc:sldMkLst>
      </pc:sldChg>
      <pc:sldChg chg="addSp delSp modSp add mod">
        <pc:chgData name="Isaac Collazo" userId="9d87d7ef-a5ed-4707-9b98-df90ced858bb" providerId="ADAL" clId="{8679E6AA-4827-4B1D-A5B6-33F1314B6803}" dt="2022-08-17T21:38:12.314" v="63" actId="478"/>
        <pc:sldMkLst>
          <pc:docMk/>
          <pc:sldMk cId="2599689798" sldId="3777"/>
        </pc:sldMkLst>
        <pc:spChg chg="del">
          <ac:chgData name="Isaac Collazo" userId="9d87d7ef-a5ed-4707-9b98-df90ced858bb" providerId="ADAL" clId="{8679E6AA-4827-4B1D-A5B6-33F1314B6803}" dt="2022-08-17T21:38:12.314" v="63" actId="478"/>
          <ac:spMkLst>
            <pc:docMk/>
            <pc:sldMk cId="2599689798" sldId="3777"/>
            <ac:spMk id="5" creationId="{89672A73-D386-CB4B-BB14-F63BC7AFEE65}"/>
          </ac:spMkLst>
        </pc:spChg>
        <pc:spChg chg="add mod">
          <ac:chgData name="Isaac Collazo" userId="9d87d7ef-a5ed-4707-9b98-df90ced858bb" providerId="ADAL" clId="{8679E6AA-4827-4B1D-A5B6-33F1314B6803}" dt="2022-08-17T21:38:12.314" v="63" actId="478"/>
          <ac:spMkLst>
            <pc:docMk/>
            <pc:sldMk cId="2599689798" sldId="3777"/>
            <ac:spMk id="6" creationId="{B50DC295-4D68-6E97-9E6F-AEA463E24597}"/>
          </ac:spMkLst>
        </pc:spChg>
      </pc:sldChg>
      <pc:sldChg chg="add del">
        <pc:chgData name="Isaac Collazo" userId="9d87d7ef-a5ed-4707-9b98-df90ced858bb" providerId="ADAL" clId="{8679E6AA-4827-4B1D-A5B6-33F1314B6803}" dt="2022-08-17T00:14:14.689" v="44"/>
        <pc:sldMkLst>
          <pc:docMk/>
          <pc:sldMk cId="3508546777" sldId="3799"/>
        </pc:sldMkLst>
      </pc:sldChg>
      <pc:sldChg chg="del">
        <pc:chgData name="Isaac Collazo" userId="9d87d7ef-a5ed-4707-9b98-df90ced858bb" providerId="ADAL" clId="{8679E6AA-4827-4B1D-A5B6-33F1314B6803}" dt="2022-08-17T00:03:19.624" v="3" actId="47"/>
        <pc:sldMkLst>
          <pc:docMk/>
          <pc:sldMk cId="2510626297" sldId="3800"/>
        </pc:sldMkLst>
      </pc:sldChg>
      <pc:sldChg chg="add del">
        <pc:chgData name="Isaac Collazo" userId="9d87d7ef-a5ed-4707-9b98-df90ced858bb" providerId="ADAL" clId="{8679E6AA-4827-4B1D-A5B6-33F1314B6803}" dt="2022-08-17T00:14:55.989" v="46"/>
        <pc:sldMkLst>
          <pc:docMk/>
          <pc:sldMk cId="1433012227" sldId="3801"/>
        </pc:sldMkLst>
      </pc:sldChg>
      <pc:sldChg chg="modSp mod">
        <pc:chgData name="Isaac Collazo" userId="9d87d7ef-a5ed-4707-9b98-df90ced858bb" providerId="ADAL" clId="{8679E6AA-4827-4B1D-A5B6-33F1314B6803}" dt="2022-08-18T13:24:50.011" v="1653" actId="27918"/>
        <pc:sldMkLst>
          <pc:docMk/>
          <pc:sldMk cId="4242755112" sldId="3910"/>
        </pc:sldMkLst>
        <pc:spChg chg="mod">
          <ac:chgData name="Isaac Collazo" userId="9d87d7ef-a5ed-4707-9b98-df90ced858bb" providerId="ADAL" clId="{8679E6AA-4827-4B1D-A5B6-33F1314B6803}" dt="2022-08-18T13:23:06.853" v="1607" actId="20577"/>
          <ac:spMkLst>
            <pc:docMk/>
            <pc:sldMk cId="4242755112" sldId="3910"/>
            <ac:spMk id="2" creationId="{00000000-0000-0000-0000-000000000000}"/>
          </ac:spMkLst>
        </pc:spChg>
        <pc:spChg chg="mod">
          <ac:chgData name="Isaac Collazo" userId="9d87d7ef-a5ed-4707-9b98-df90ced858bb" providerId="ADAL" clId="{8679E6AA-4827-4B1D-A5B6-33F1314B6803}" dt="2022-08-18T13:22:49.262" v="1579" actId="20577"/>
          <ac:spMkLst>
            <pc:docMk/>
            <pc:sldMk cId="4242755112" sldId="3910"/>
            <ac:spMk id="92163" creationId="{00000000-0000-0000-0000-000000000000}"/>
          </ac:spMkLst>
        </pc:spChg>
        <pc:graphicFrameChg chg="mod">
          <ac:chgData name="Isaac Collazo" userId="9d87d7ef-a5ed-4707-9b98-df90ced858bb" providerId="ADAL" clId="{8679E6AA-4827-4B1D-A5B6-33F1314B6803}" dt="2022-08-18T13:22:11.620" v="1529" actId="208"/>
          <ac:graphicFrameMkLst>
            <pc:docMk/>
            <pc:sldMk cId="4242755112" sldId="3910"/>
            <ac:graphicFrameMk id="23" creationId="{00000000-0000-0000-0000-000000000000}"/>
          </ac:graphicFrameMkLst>
        </pc:graphicFrameChg>
      </pc:sldChg>
      <pc:sldChg chg="modSp mod ord">
        <pc:chgData name="Isaac Collazo" userId="9d87d7ef-a5ed-4707-9b98-df90ced858bb" providerId="ADAL" clId="{8679E6AA-4827-4B1D-A5B6-33F1314B6803}" dt="2022-08-18T13:24:19.056" v="1651" actId="27918"/>
        <pc:sldMkLst>
          <pc:docMk/>
          <pc:sldMk cId="270597937" sldId="3925"/>
        </pc:sldMkLst>
        <pc:spChg chg="mod">
          <ac:chgData name="Isaac Collazo" userId="9d87d7ef-a5ed-4707-9b98-df90ced858bb" providerId="ADAL" clId="{8679E6AA-4827-4B1D-A5B6-33F1314B6803}" dt="2022-08-17T22:02:17.282" v="112" actId="20577"/>
          <ac:spMkLst>
            <pc:docMk/>
            <pc:sldMk cId="270597937" sldId="3925"/>
            <ac:spMk id="3" creationId="{00000000-0000-0000-0000-000000000000}"/>
          </ac:spMkLst>
        </pc:spChg>
      </pc:sldChg>
      <pc:sldChg chg="del">
        <pc:chgData name="Isaac Collazo" userId="9d87d7ef-a5ed-4707-9b98-df90ced858bb" providerId="ADAL" clId="{8679E6AA-4827-4B1D-A5B6-33F1314B6803}" dt="2022-08-17T00:03:30.670" v="7" actId="47"/>
        <pc:sldMkLst>
          <pc:docMk/>
          <pc:sldMk cId="3636118392" sldId="6943"/>
        </pc:sldMkLst>
      </pc:sldChg>
      <pc:sldChg chg="modSp">
        <pc:chgData name="Isaac Collazo" userId="9d87d7ef-a5ed-4707-9b98-df90ced858bb" providerId="ADAL" clId="{8679E6AA-4827-4B1D-A5B6-33F1314B6803}" dt="2022-08-17T22:11:31.722" v="613" actId="113"/>
        <pc:sldMkLst>
          <pc:docMk/>
          <pc:sldMk cId="4272109445" sldId="6973"/>
        </pc:sldMkLst>
        <pc:graphicFrameChg chg="mod">
          <ac:chgData name="Isaac Collazo" userId="9d87d7ef-a5ed-4707-9b98-df90ced858bb" providerId="ADAL" clId="{8679E6AA-4827-4B1D-A5B6-33F1314B6803}" dt="2022-08-17T22:11:31.722" v="613" actId="113"/>
          <ac:graphicFrameMkLst>
            <pc:docMk/>
            <pc:sldMk cId="4272109445" sldId="6973"/>
            <ac:graphicFrameMk id="8" creationId="{B771AB29-59FA-ED44-9FB4-38BC967FDE83}"/>
          </ac:graphicFrameMkLst>
        </pc:graphicFrameChg>
      </pc:sldChg>
      <pc:sldChg chg="del">
        <pc:chgData name="Isaac Collazo" userId="9d87d7ef-a5ed-4707-9b98-df90ced858bb" providerId="ADAL" clId="{8679E6AA-4827-4B1D-A5B6-33F1314B6803}" dt="2022-08-17T00:02:46.532" v="0" actId="47"/>
        <pc:sldMkLst>
          <pc:docMk/>
          <pc:sldMk cId="203664624" sldId="6990"/>
        </pc:sldMkLst>
      </pc:sldChg>
      <pc:sldChg chg="del">
        <pc:chgData name="Isaac Collazo" userId="9d87d7ef-a5ed-4707-9b98-df90ced858bb" providerId="ADAL" clId="{8679E6AA-4827-4B1D-A5B6-33F1314B6803}" dt="2022-08-17T00:02:57.398" v="1" actId="47"/>
        <pc:sldMkLst>
          <pc:docMk/>
          <pc:sldMk cId="381603822" sldId="6991"/>
        </pc:sldMkLst>
      </pc:sldChg>
      <pc:sldChg chg="del">
        <pc:chgData name="Isaac Collazo" userId="9d87d7ef-a5ed-4707-9b98-df90ced858bb" providerId="ADAL" clId="{8679E6AA-4827-4B1D-A5B6-33F1314B6803}" dt="2022-08-17T00:08:33.590" v="37" actId="47"/>
        <pc:sldMkLst>
          <pc:docMk/>
          <pc:sldMk cId="2955297795" sldId="6999"/>
        </pc:sldMkLst>
      </pc:sldChg>
      <pc:sldChg chg="del">
        <pc:chgData name="Isaac Collazo" userId="9d87d7ef-a5ed-4707-9b98-df90ced858bb" providerId="ADAL" clId="{8679E6AA-4827-4B1D-A5B6-33F1314B6803}" dt="2022-08-17T00:10:13.599" v="39" actId="47"/>
        <pc:sldMkLst>
          <pc:docMk/>
          <pc:sldMk cId="1403012311" sldId="7001"/>
        </pc:sldMkLst>
      </pc:sldChg>
      <pc:sldChg chg="modSp mod">
        <pc:chgData name="Isaac Collazo" userId="9d87d7ef-a5ed-4707-9b98-df90ced858bb" providerId="ADAL" clId="{8679E6AA-4827-4B1D-A5B6-33F1314B6803}" dt="2022-08-22T15:24:14.892" v="1707" actId="403"/>
        <pc:sldMkLst>
          <pc:docMk/>
          <pc:sldMk cId="1714070251" sldId="7007"/>
        </pc:sldMkLst>
        <pc:spChg chg="mod">
          <ac:chgData name="Isaac Collazo" userId="9d87d7ef-a5ed-4707-9b98-df90ced858bb" providerId="ADAL" clId="{8679E6AA-4827-4B1D-A5B6-33F1314B6803}" dt="2022-08-18T13:23:22.285" v="1643" actId="20577"/>
          <ac:spMkLst>
            <pc:docMk/>
            <pc:sldMk cId="1714070251" sldId="7007"/>
            <ac:spMk id="4" creationId="{5FE6DDC4-9CB3-4DDA-AE13-80EFF8D2B752}"/>
          </ac:spMkLst>
        </pc:spChg>
        <pc:spChg chg="mod">
          <ac:chgData name="Isaac Collazo" userId="9d87d7ef-a5ed-4707-9b98-df90ced858bb" providerId="ADAL" clId="{8679E6AA-4827-4B1D-A5B6-33F1314B6803}" dt="2022-08-18T13:23:33.694" v="1644" actId="20577"/>
          <ac:spMkLst>
            <pc:docMk/>
            <pc:sldMk cId="1714070251" sldId="7007"/>
            <ac:spMk id="92163" creationId="{00000000-0000-0000-0000-000000000000}"/>
          </ac:spMkLst>
        </pc:spChg>
        <pc:graphicFrameChg chg="mod">
          <ac:chgData name="Isaac Collazo" userId="9d87d7ef-a5ed-4707-9b98-df90ced858bb" providerId="ADAL" clId="{8679E6AA-4827-4B1D-A5B6-33F1314B6803}" dt="2022-08-22T15:24:14.892" v="1707" actId="403"/>
          <ac:graphicFrameMkLst>
            <pc:docMk/>
            <pc:sldMk cId="1714070251" sldId="7007"/>
            <ac:graphicFrameMk id="23" creationId="{00000000-0000-0000-0000-000000000000}"/>
          </ac:graphicFrameMkLst>
        </pc:graphicFrameChg>
      </pc:sldChg>
      <pc:sldChg chg="del">
        <pc:chgData name="Isaac Collazo" userId="9d87d7ef-a5ed-4707-9b98-df90ced858bb" providerId="ADAL" clId="{8679E6AA-4827-4B1D-A5B6-33F1314B6803}" dt="2022-08-17T00:03:06.464" v="2" actId="47"/>
        <pc:sldMkLst>
          <pc:docMk/>
          <pc:sldMk cId="2589621595" sldId="7009"/>
        </pc:sldMkLst>
      </pc:sldChg>
      <pc:sldChg chg="del">
        <pc:chgData name="Isaac Collazo" userId="9d87d7ef-a5ed-4707-9b98-df90ced858bb" providerId="ADAL" clId="{8679E6AA-4827-4B1D-A5B6-33F1314B6803}" dt="2022-08-17T00:07:20.184" v="35" actId="47"/>
        <pc:sldMkLst>
          <pc:docMk/>
          <pc:sldMk cId="1746931343" sldId="7010"/>
        </pc:sldMkLst>
      </pc:sldChg>
      <pc:sldChg chg="modSp add del mod ord">
        <pc:chgData name="Isaac Collazo" userId="9d87d7ef-a5ed-4707-9b98-df90ced858bb" providerId="ADAL" clId="{8679E6AA-4827-4B1D-A5B6-33F1314B6803}" dt="2022-08-17T22:04:29.928" v="123" actId="208"/>
        <pc:sldMkLst>
          <pc:docMk/>
          <pc:sldMk cId="438866906" sldId="7019"/>
        </pc:sldMkLst>
        <pc:graphicFrameChg chg="mod">
          <ac:chgData name="Isaac Collazo" userId="9d87d7ef-a5ed-4707-9b98-df90ced858bb" providerId="ADAL" clId="{8679E6AA-4827-4B1D-A5B6-33F1314B6803}" dt="2022-08-17T22:04:29.928" v="123" actId="208"/>
          <ac:graphicFrameMkLst>
            <pc:docMk/>
            <pc:sldMk cId="438866906" sldId="7019"/>
            <ac:graphicFrameMk id="8" creationId="{5977D3C0-5FAE-4086-B6E3-9410B561A25B}"/>
          </ac:graphicFrameMkLst>
        </pc:graphicFrameChg>
      </pc:sldChg>
      <pc:sldChg chg="del">
        <pc:chgData name="Isaac Collazo" userId="9d87d7ef-a5ed-4707-9b98-df90ced858bb" providerId="ADAL" clId="{8679E6AA-4827-4B1D-A5B6-33F1314B6803}" dt="2022-08-17T00:06:25.605" v="32" actId="47"/>
        <pc:sldMkLst>
          <pc:docMk/>
          <pc:sldMk cId="599633559" sldId="7036"/>
        </pc:sldMkLst>
      </pc:sldChg>
      <pc:sldChg chg="modSp add del mod ord">
        <pc:chgData name="Isaac Collazo" userId="9d87d7ef-a5ed-4707-9b98-df90ced858bb" providerId="ADAL" clId="{8679E6AA-4827-4B1D-A5B6-33F1314B6803}" dt="2022-08-18T13:24:41.511" v="1652" actId="20577"/>
        <pc:sldMkLst>
          <pc:docMk/>
          <pc:sldMk cId="2563148403" sldId="7056"/>
        </pc:sldMkLst>
        <pc:spChg chg="mod">
          <ac:chgData name="Isaac Collazo" userId="9d87d7ef-a5ed-4707-9b98-df90ced858bb" providerId="ADAL" clId="{8679E6AA-4827-4B1D-A5B6-33F1314B6803}" dt="2022-08-18T13:24:41.511" v="1652" actId="20577"/>
          <ac:spMkLst>
            <pc:docMk/>
            <pc:sldMk cId="2563148403" sldId="7056"/>
            <ac:spMk id="11" creationId="{8CEE78A2-69B0-4652-811B-07B55706B1F7}"/>
          </ac:spMkLst>
        </pc:spChg>
      </pc:sldChg>
      <pc:sldChg chg="modSp add del mod ord">
        <pc:chgData name="Isaac Collazo" userId="9d87d7ef-a5ed-4707-9b98-df90ced858bb" providerId="ADAL" clId="{8679E6AA-4827-4B1D-A5B6-33F1314B6803}" dt="2022-08-22T15:23:29.937" v="1706" actId="255"/>
        <pc:sldMkLst>
          <pc:docMk/>
          <pc:sldMk cId="2820680470" sldId="7057"/>
        </pc:sldMkLst>
        <pc:spChg chg="mod">
          <ac:chgData name="Isaac Collazo" userId="9d87d7ef-a5ed-4707-9b98-df90ced858bb" providerId="ADAL" clId="{8679E6AA-4827-4B1D-A5B6-33F1314B6803}" dt="2022-08-22T15:23:29.937" v="1706" actId="255"/>
          <ac:spMkLst>
            <pc:docMk/>
            <pc:sldMk cId="2820680470" sldId="7057"/>
            <ac:spMk id="92163" creationId="{00000000-0000-0000-0000-000000000000}"/>
          </ac:spMkLst>
        </pc:spChg>
      </pc:sldChg>
      <pc:sldChg chg="del">
        <pc:chgData name="Isaac Collazo" userId="9d87d7ef-a5ed-4707-9b98-df90ced858bb" providerId="ADAL" clId="{8679E6AA-4827-4B1D-A5B6-33F1314B6803}" dt="2022-08-17T00:03:22.493" v="5" actId="47"/>
        <pc:sldMkLst>
          <pc:docMk/>
          <pc:sldMk cId="2320220295" sldId="7062"/>
        </pc:sldMkLst>
      </pc:sldChg>
      <pc:sldChg chg="del">
        <pc:chgData name="Isaac Collazo" userId="9d87d7ef-a5ed-4707-9b98-df90ced858bb" providerId="ADAL" clId="{8679E6AA-4827-4B1D-A5B6-33F1314B6803}" dt="2022-08-17T00:03:23.407" v="6" actId="47"/>
        <pc:sldMkLst>
          <pc:docMk/>
          <pc:sldMk cId="3625052302" sldId="7072"/>
        </pc:sldMkLst>
      </pc:sldChg>
      <pc:sldChg chg="add del ord">
        <pc:chgData name="Isaac Collazo" userId="9d87d7ef-a5ed-4707-9b98-df90ced858bb" providerId="ADAL" clId="{8679E6AA-4827-4B1D-A5B6-33F1314B6803}" dt="2022-08-17T00:05:32.586" v="27" actId="20578"/>
        <pc:sldMkLst>
          <pc:docMk/>
          <pc:sldMk cId="164816507" sldId="7350"/>
        </pc:sldMkLst>
      </pc:sldChg>
      <pc:sldChg chg="del">
        <pc:chgData name="Isaac Collazo" userId="9d87d7ef-a5ed-4707-9b98-df90ced858bb" providerId="ADAL" clId="{8679E6AA-4827-4B1D-A5B6-33F1314B6803}" dt="2022-08-17T00:08:39.358" v="38" actId="47"/>
        <pc:sldMkLst>
          <pc:docMk/>
          <pc:sldMk cId="1482643780" sldId="7359"/>
        </pc:sldMkLst>
      </pc:sldChg>
      <pc:sldChg chg="del">
        <pc:chgData name="Isaac Collazo" userId="9d87d7ef-a5ed-4707-9b98-df90ced858bb" providerId="ADAL" clId="{8679E6AA-4827-4B1D-A5B6-33F1314B6803}" dt="2022-08-17T00:07:30.107" v="36" actId="47"/>
        <pc:sldMkLst>
          <pc:docMk/>
          <pc:sldMk cId="3569071676" sldId="7361"/>
        </pc:sldMkLst>
      </pc:sldChg>
      <pc:sldChg chg="del">
        <pc:chgData name="Isaac Collazo" userId="9d87d7ef-a5ed-4707-9b98-df90ced858bb" providerId="ADAL" clId="{8679E6AA-4827-4B1D-A5B6-33F1314B6803}" dt="2022-08-17T00:03:20.604" v="4" actId="47"/>
        <pc:sldMkLst>
          <pc:docMk/>
          <pc:sldMk cId="1866759396" sldId="7363"/>
        </pc:sldMkLst>
      </pc:sldChg>
      <pc:sldChg chg="addSp delSp modSp mod">
        <pc:chgData name="Isaac Collazo" userId="9d87d7ef-a5ed-4707-9b98-df90ced858bb" providerId="ADAL" clId="{8679E6AA-4827-4B1D-A5B6-33F1314B6803}" dt="2022-08-18T12:43:15.151" v="1510" actId="20577"/>
        <pc:sldMkLst>
          <pc:docMk/>
          <pc:sldMk cId="573720846" sldId="7364"/>
        </pc:sldMkLst>
        <pc:spChg chg="add mod">
          <ac:chgData name="Isaac Collazo" userId="9d87d7ef-a5ed-4707-9b98-df90ced858bb" providerId="ADAL" clId="{8679E6AA-4827-4B1D-A5B6-33F1314B6803}" dt="2022-08-18T12:41:32.448" v="1124" actId="1038"/>
          <ac:spMkLst>
            <pc:docMk/>
            <pc:sldMk cId="573720846" sldId="7364"/>
            <ac:spMk id="3" creationId="{F481A9F3-CB75-B34E-0665-D92B215D5C32}"/>
          </ac:spMkLst>
        </pc:spChg>
        <pc:spChg chg="add mod">
          <ac:chgData name="Isaac Collazo" userId="9d87d7ef-a5ed-4707-9b98-df90ced858bb" providerId="ADAL" clId="{8679E6AA-4827-4B1D-A5B6-33F1314B6803}" dt="2022-08-18T12:41:18.918" v="1108" actId="20577"/>
          <ac:spMkLst>
            <pc:docMk/>
            <pc:sldMk cId="573720846" sldId="7364"/>
            <ac:spMk id="15" creationId="{C70B624B-A6E0-40C1-8186-05004483D065}"/>
          </ac:spMkLst>
        </pc:spChg>
        <pc:spChg chg="add mod">
          <ac:chgData name="Isaac Collazo" userId="9d87d7ef-a5ed-4707-9b98-df90ced858bb" providerId="ADAL" clId="{8679E6AA-4827-4B1D-A5B6-33F1314B6803}" dt="2022-08-18T12:41:13.415" v="1106" actId="20577"/>
          <ac:spMkLst>
            <pc:docMk/>
            <pc:sldMk cId="573720846" sldId="7364"/>
            <ac:spMk id="16" creationId="{88D6DAB0-0B45-F2EB-00D8-212E58E7AE40}"/>
          </ac:spMkLst>
        </pc:spChg>
        <pc:spChg chg="add mod">
          <ac:chgData name="Isaac Collazo" userId="9d87d7ef-a5ed-4707-9b98-df90ced858bb" providerId="ADAL" clId="{8679E6AA-4827-4B1D-A5B6-33F1314B6803}" dt="2022-08-18T12:41:09.159" v="1100" actId="20577"/>
          <ac:spMkLst>
            <pc:docMk/>
            <pc:sldMk cId="573720846" sldId="7364"/>
            <ac:spMk id="17" creationId="{433C17B6-B753-6512-0982-9084555F0C45}"/>
          </ac:spMkLst>
        </pc:spChg>
        <pc:spChg chg="add del mod">
          <ac:chgData name="Isaac Collazo" userId="9d87d7ef-a5ed-4707-9b98-df90ced858bb" providerId="ADAL" clId="{8679E6AA-4827-4B1D-A5B6-33F1314B6803}" dt="2022-08-18T12:41:05.343" v="1098" actId="478"/>
          <ac:spMkLst>
            <pc:docMk/>
            <pc:sldMk cId="573720846" sldId="7364"/>
            <ac:spMk id="18" creationId="{74C7D5A7-501C-4847-0511-A0DA913AD706}"/>
          </ac:spMkLst>
        </pc:spChg>
        <pc:spChg chg="add mod">
          <ac:chgData name="Isaac Collazo" userId="9d87d7ef-a5ed-4707-9b98-df90ced858bb" providerId="ADAL" clId="{8679E6AA-4827-4B1D-A5B6-33F1314B6803}" dt="2022-08-18T12:42:15.063" v="1271" actId="1037"/>
          <ac:spMkLst>
            <pc:docMk/>
            <pc:sldMk cId="573720846" sldId="7364"/>
            <ac:spMk id="19" creationId="{9E748CFC-600C-0641-F36E-F2FB3EDE69D8}"/>
          </ac:spMkLst>
        </pc:spChg>
        <pc:spChg chg="add mod">
          <ac:chgData name="Isaac Collazo" userId="9d87d7ef-a5ed-4707-9b98-df90ced858bb" providerId="ADAL" clId="{8679E6AA-4827-4B1D-A5B6-33F1314B6803}" dt="2022-08-18T12:42:35.952" v="1398" actId="20577"/>
          <ac:spMkLst>
            <pc:docMk/>
            <pc:sldMk cId="573720846" sldId="7364"/>
            <ac:spMk id="20" creationId="{C2E6306C-C1E3-4E53-2DDD-1A0049438960}"/>
          </ac:spMkLst>
        </pc:spChg>
        <pc:spChg chg="add mod">
          <ac:chgData name="Isaac Collazo" userId="9d87d7ef-a5ed-4707-9b98-df90ced858bb" providerId="ADAL" clId="{8679E6AA-4827-4B1D-A5B6-33F1314B6803}" dt="2022-08-18T12:42:55.623" v="1438" actId="20577"/>
          <ac:spMkLst>
            <pc:docMk/>
            <pc:sldMk cId="573720846" sldId="7364"/>
            <ac:spMk id="21" creationId="{78BDD435-31A9-FC1E-546A-D85EC1BD06A5}"/>
          </ac:spMkLst>
        </pc:spChg>
        <pc:spChg chg="add mod">
          <ac:chgData name="Isaac Collazo" userId="9d87d7ef-a5ed-4707-9b98-df90ced858bb" providerId="ADAL" clId="{8679E6AA-4827-4B1D-A5B6-33F1314B6803}" dt="2022-08-18T12:43:15.151" v="1510" actId="20577"/>
          <ac:spMkLst>
            <pc:docMk/>
            <pc:sldMk cId="573720846" sldId="7364"/>
            <ac:spMk id="22" creationId="{9FC1DB00-4B8F-370C-0132-4E605DDBE936}"/>
          </ac:spMkLst>
        </pc:spChg>
      </pc:sldChg>
      <pc:sldChg chg="modSp add mod">
        <pc:chgData name="Isaac Collazo" userId="9d87d7ef-a5ed-4707-9b98-df90ced858bb" providerId="ADAL" clId="{8679E6AA-4827-4B1D-A5B6-33F1314B6803}" dt="2022-08-19T14:00:28.525" v="1687" actId="27918"/>
        <pc:sldMkLst>
          <pc:docMk/>
          <pc:sldMk cId="1856227960" sldId="7365"/>
        </pc:sldMkLst>
        <pc:spChg chg="mod">
          <ac:chgData name="Isaac Collazo" userId="9d87d7ef-a5ed-4707-9b98-df90ced858bb" providerId="ADAL" clId="{8679E6AA-4827-4B1D-A5B6-33F1314B6803}" dt="2022-08-17T22:07:49.546" v="334" actId="20577"/>
          <ac:spMkLst>
            <pc:docMk/>
            <pc:sldMk cId="1856227960" sldId="7365"/>
            <ac:spMk id="4" creationId="{A60E1866-1D5F-46E2-910C-631917A5D6D5}"/>
          </ac:spMkLst>
        </pc:spChg>
        <pc:spChg chg="mod">
          <ac:chgData name="Isaac Collazo" userId="9d87d7ef-a5ed-4707-9b98-df90ced858bb" providerId="ADAL" clId="{8679E6AA-4827-4B1D-A5B6-33F1314B6803}" dt="2022-08-17T22:07:57.155" v="352" actId="20577"/>
          <ac:spMkLst>
            <pc:docMk/>
            <pc:sldMk cId="1856227960" sldId="7365"/>
            <ac:spMk id="10" creationId="{EBFE2284-5C7B-2308-C49F-392059408923}"/>
          </ac:spMkLst>
        </pc:spChg>
        <pc:graphicFrameChg chg="mod">
          <ac:chgData name="Isaac Collazo" userId="9d87d7ef-a5ed-4707-9b98-df90ced858bb" providerId="ADAL" clId="{8679E6AA-4827-4B1D-A5B6-33F1314B6803}" dt="2022-08-17T22:10:53.070" v="607" actId="403"/>
          <ac:graphicFrameMkLst>
            <pc:docMk/>
            <pc:sldMk cId="1856227960" sldId="7365"/>
            <ac:graphicFrameMk id="7" creationId="{1020AD55-EB64-123A-9677-13484B3019E6}"/>
          </ac:graphicFrameMkLst>
        </pc:graphicFrameChg>
        <pc:graphicFrameChg chg="mod">
          <ac:chgData name="Isaac Collazo" userId="9d87d7ef-a5ed-4707-9b98-df90ced858bb" providerId="ADAL" clId="{8679E6AA-4827-4B1D-A5B6-33F1314B6803}" dt="2022-08-17T22:10:50.674" v="606" actId="403"/>
          <ac:graphicFrameMkLst>
            <pc:docMk/>
            <pc:sldMk cId="1856227960" sldId="7365"/>
            <ac:graphicFrameMk id="8" creationId="{F89844EE-964D-4B60-93D2-000A61A1F541}"/>
          </ac:graphicFrameMkLst>
        </pc:graphicFrameChg>
      </pc:sldChg>
      <pc:sldChg chg="del">
        <pc:chgData name="Isaac Collazo" userId="9d87d7ef-a5ed-4707-9b98-df90ced858bb" providerId="ADAL" clId="{8679E6AA-4827-4B1D-A5B6-33F1314B6803}" dt="2022-08-17T00:12:12.031" v="42" actId="2696"/>
        <pc:sldMkLst>
          <pc:docMk/>
          <pc:sldMk cId="2090318459" sldId="7365"/>
        </pc:sldMkLst>
      </pc:sldChg>
      <pc:sldChg chg="addSp modSp add mod">
        <pc:chgData name="Isaac Collazo" userId="9d87d7ef-a5ed-4707-9b98-df90ced858bb" providerId="ADAL" clId="{8679E6AA-4827-4B1D-A5B6-33F1314B6803}" dt="2022-08-19T14:05:27.355" v="1705"/>
        <pc:sldMkLst>
          <pc:docMk/>
          <pc:sldMk cId="750784053" sldId="7370"/>
        </pc:sldMkLst>
        <pc:spChg chg="mod">
          <ac:chgData name="Isaac Collazo" userId="9d87d7ef-a5ed-4707-9b98-df90ced858bb" providerId="ADAL" clId="{8679E6AA-4827-4B1D-A5B6-33F1314B6803}" dt="2022-08-17T22:06:15.987" v="166" actId="1035"/>
          <ac:spMkLst>
            <pc:docMk/>
            <pc:sldMk cId="750784053" sldId="7370"/>
            <ac:spMk id="4" creationId="{A60E1866-1D5F-46E2-910C-631917A5D6D5}"/>
          </ac:spMkLst>
        </pc:spChg>
        <pc:spChg chg="add mod">
          <ac:chgData name="Isaac Collazo" userId="9d87d7ef-a5ed-4707-9b98-df90ced858bb" providerId="ADAL" clId="{8679E6AA-4827-4B1D-A5B6-33F1314B6803}" dt="2022-08-17T22:08:23.139" v="394" actId="20577"/>
          <ac:spMkLst>
            <pc:docMk/>
            <pc:sldMk cId="750784053" sldId="7370"/>
            <ac:spMk id="7" creationId="{EFB9BA91-081E-0B4A-4BA6-E96965D59630}"/>
          </ac:spMkLst>
        </pc:spChg>
        <pc:graphicFrameChg chg="mod">
          <ac:chgData name="Isaac Collazo" userId="9d87d7ef-a5ed-4707-9b98-df90ced858bb" providerId="ADAL" clId="{8679E6AA-4827-4B1D-A5B6-33F1314B6803}" dt="2022-08-17T22:07:00.707" v="241" actId="6549"/>
          <ac:graphicFrameMkLst>
            <pc:docMk/>
            <pc:sldMk cId="750784053" sldId="7370"/>
            <ac:graphicFrameMk id="8" creationId="{F89844EE-964D-4B60-93D2-000A61A1F541}"/>
          </ac:graphicFrameMkLst>
        </pc:graphicFrameChg>
        <pc:graphicFrameChg chg="mod">
          <ac:chgData name="Isaac Collazo" userId="9d87d7ef-a5ed-4707-9b98-df90ced858bb" providerId="ADAL" clId="{8679E6AA-4827-4B1D-A5B6-33F1314B6803}" dt="2022-08-19T14:05:27.355" v="1705"/>
          <ac:graphicFrameMkLst>
            <pc:docMk/>
            <pc:sldMk cId="750784053" sldId="7370"/>
            <ac:graphicFrameMk id="9" creationId="{36131EF0-0360-4FC0-B841-1F5C41BA589A}"/>
          </ac:graphicFrameMkLst>
        </pc:graphicFrameChg>
      </pc:sldChg>
      <pc:sldChg chg="del">
        <pc:chgData name="Isaac Collazo" userId="9d87d7ef-a5ed-4707-9b98-df90ced858bb" providerId="ADAL" clId="{8679E6AA-4827-4B1D-A5B6-33F1314B6803}" dt="2022-08-17T00:12:12.031" v="42" actId="2696"/>
        <pc:sldMkLst>
          <pc:docMk/>
          <pc:sldMk cId="3890366251" sldId="7370"/>
        </pc:sldMkLst>
      </pc:sldChg>
      <pc:sldChg chg="delSp modSp add mod">
        <pc:chgData name="Isaac Collazo" userId="9d87d7ef-a5ed-4707-9b98-df90ced858bb" providerId="ADAL" clId="{8679E6AA-4827-4B1D-A5B6-33F1314B6803}" dt="2022-08-22T15:25:06.504" v="1708" actId="478"/>
        <pc:sldMkLst>
          <pc:docMk/>
          <pc:sldMk cId="1387175791" sldId="7372"/>
        </pc:sldMkLst>
        <pc:spChg chg="mod">
          <ac:chgData name="Isaac Collazo" userId="9d87d7ef-a5ed-4707-9b98-df90ced858bb" providerId="ADAL" clId="{8679E6AA-4827-4B1D-A5B6-33F1314B6803}" dt="2022-08-17T22:05:55.636" v="150" actId="1037"/>
          <ac:spMkLst>
            <pc:docMk/>
            <pc:sldMk cId="1387175791" sldId="7372"/>
            <ac:spMk id="4" creationId="{989F7209-F958-49EF-897C-86E3A6FD4A1E}"/>
          </ac:spMkLst>
        </pc:spChg>
        <pc:picChg chg="del">
          <ac:chgData name="Isaac Collazo" userId="9d87d7ef-a5ed-4707-9b98-df90ced858bb" providerId="ADAL" clId="{8679E6AA-4827-4B1D-A5B6-33F1314B6803}" dt="2022-08-22T15:25:06.504" v="1708" actId="478"/>
          <ac:picMkLst>
            <pc:docMk/>
            <pc:sldMk cId="1387175791" sldId="7372"/>
            <ac:picMk id="6" creationId="{22F7DBFF-8E87-4C17-9F46-FF29D7F41FFC}"/>
          </ac:picMkLst>
        </pc:picChg>
      </pc:sldChg>
      <pc:sldChg chg="del">
        <pc:chgData name="Isaac Collazo" userId="9d87d7ef-a5ed-4707-9b98-df90ced858bb" providerId="ADAL" clId="{8679E6AA-4827-4B1D-A5B6-33F1314B6803}" dt="2022-08-17T00:12:12.031" v="42" actId="2696"/>
        <pc:sldMkLst>
          <pc:docMk/>
          <pc:sldMk cId="2783034292" sldId="7372"/>
        </pc:sldMkLst>
      </pc:sldChg>
      <pc:sldChg chg="del">
        <pc:chgData name="Isaac Collazo" userId="9d87d7ef-a5ed-4707-9b98-df90ced858bb" providerId="ADAL" clId="{8679E6AA-4827-4B1D-A5B6-33F1314B6803}" dt="2022-08-17T00:12:12.031" v="42" actId="2696"/>
        <pc:sldMkLst>
          <pc:docMk/>
          <pc:sldMk cId="2548042420" sldId="7373"/>
        </pc:sldMkLst>
      </pc:sldChg>
      <pc:sldChg chg="modSp add mod">
        <pc:chgData name="Isaac Collazo" userId="9d87d7ef-a5ed-4707-9b98-df90ced858bb" providerId="ADAL" clId="{8679E6AA-4827-4B1D-A5B6-33F1314B6803}" dt="2022-08-19T14:01:17.888" v="1696" actId="27918"/>
        <pc:sldMkLst>
          <pc:docMk/>
          <pc:sldMk cId="3024700097" sldId="7373"/>
        </pc:sldMkLst>
        <pc:spChg chg="mod">
          <ac:chgData name="Isaac Collazo" userId="9d87d7ef-a5ed-4707-9b98-df90ced858bb" providerId="ADAL" clId="{8679E6AA-4827-4B1D-A5B6-33F1314B6803}" dt="2022-08-17T22:08:54.490" v="437" actId="20577"/>
          <ac:spMkLst>
            <pc:docMk/>
            <pc:sldMk cId="3024700097" sldId="7373"/>
            <ac:spMk id="4" creationId="{A60E1866-1D5F-46E2-910C-631917A5D6D5}"/>
          </ac:spMkLst>
        </pc:spChg>
        <pc:spChg chg="mod">
          <ac:chgData name="Isaac Collazo" userId="9d87d7ef-a5ed-4707-9b98-df90ced858bb" providerId="ADAL" clId="{8679E6AA-4827-4B1D-A5B6-33F1314B6803}" dt="2022-08-17T22:09:06.442" v="470" actId="20577"/>
          <ac:spMkLst>
            <pc:docMk/>
            <pc:sldMk cId="3024700097" sldId="7373"/>
            <ac:spMk id="10" creationId="{EBFE2284-5C7B-2308-C49F-392059408923}"/>
          </ac:spMkLst>
        </pc:spChg>
        <pc:graphicFrameChg chg="mod">
          <ac:chgData name="Isaac Collazo" userId="9d87d7ef-a5ed-4707-9b98-df90ced858bb" providerId="ADAL" clId="{8679E6AA-4827-4B1D-A5B6-33F1314B6803}" dt="2022-08-17T22:10:59.822" v="609" actId="403"/>
          <ac:graphicFrameMkLst>
            <pc:docMk/>
            <pc:sldMk cId="3024700097" sldId="7373"/>
            <ac:graphicFrameMk id="7" creationId="{1020AD55-EB64-123A-9677-13484B3019E6}"/>
          </ac:graphicFrameMkLst>
        </pc:graphicFrameChg>
        <pc:graphicFrameChg chg="mod">
          <ac:chgData name="Isaac Collazo" userId="9d87d7ef-a5ed-4707-9b98-df90ced858bb" providerId="ADAL" clId="{8679E6AA-4827-4B1D-A5B6-33F1314B6803}" dt="2022-08-17T22:10:57.183" v="608" actId="403"/>
          <ac:graphicFrameMkLst>
            <pc:docMk/>
            <pc:sldMk cId="3024700097" sldId="7373"/>
            <ac:graphicFrameMk id="8" creationId="{F89844EE-964D-4B60-93D2-000A61A1F541}"/>
          </ac:graphicFrameMkLst>
        </pc:graphicFrameChg>
      </pc:sldChg>
      <pc:sldChg chg="del">
        <pc:chgData name="Isaac Collazo" userId="9d87d7ef-a5ed-4707-9b98-df90ced858bb" providerId="ADAL" clId="{8679E6AA-4827-4B1D-A5B6-33F1314B6803}" dt="2022-08-17T00:12:12.031" v="42" actId="2696"/>
        <pc:sldMkLst>
          <pc:docMk/>
          <pc:sldMk cId="319079506" sldId="7374"/>
        </pc:sldMkLst>
      </pc:sldChg>
      <pc:sldChg chg="modSp add mod">
        <pc:chgData name="Isaac Collazo" userId="9d87d7ef-a5ed-4707-9b98-df90ced858bb" providerId="ADAL" clId="{8679E6AA-4827-4B1D-A5B6-33F1314B6803}" dt="2022-08-19T14:04:57.104" v="1704" actId="27918"/>
        <pc:sldMkLst>
          <pc:docMk/>
          <pc:sldMk cId="2170461711" sldId="7374"/>
        </pc:sldMkLst>
        <pc:spChg chg="mod">
          <ac:chgData name="Isaac Collazo" userId="9d87d7ef-a5ed-4707-9b98-df90ced858bb" providerId="ADAL" clId="{8679E6AA-4827-4B1D-A5B6-33F1314B6803}" dt="2022-08-17T22:10:40.524" v="605" actId="20577"/>
          <ac:spMkLst>
            <pc:docMk/>
            <pc:sldMk cId="2170461711" sldId="7374"/>
            <ac:spMk id="4" creationId="{A60E1866-1D5F-46E2-910C-631917A5D6D5}"/>
          </ac:spMkLst>
        </pc:spChg>
        <pc:spChg chg="mod">
          <ac:chgData name="Isaac Collazo" userId="9d87d7ef-a5ed-4707-9b98-df90ced858bb" providerId="ADAL" clId="{8679E6AA-4827-4B1D-A5B6-33F1314B6803}" dt="2022-08-17T22:09:50.116" v="548" actId="20577"/>
          <ac:spMkLst>
            <pc:docMk/>
            <pc:sldMk cId="2170461711" sldId="7374"/>
            <ac:spMk id="10" creationId="{EBFE2284-5C7B-2308-C49F-392059408923}"/>
          </ac:spMkLst>
        </pc:spChg>
        <pc:graphicFrameChg chg="mod">
          <ac:chgData name="Isaac Collazo" userId="9d87d7ef-a5ed-4707-9b98-df90ced858bb" providerId="ADAL" clId="{8679E6AA-4827-4B1D-A5B6-33F1314B6803}" dt="2022-08-17T22:11:07.346" v="611" actId="403"/>
          <ac:graphicFrameMkLst>
            <pc:docMk/>
            <pc:sldMk cId="2170461711" sldId="7374"/>
            <ac:graphicFrameMk id="7" creationId="{1020AD55-EB64-123A-9677-13484B3019E6}"/>
          </ac:graphicFrameMkLst>
        </pc:graphicFrameChg>
        <pc:graphicFrameChg chg="mod">
          <ac:chgData name="Isaac Collazo" userId="9d87d7ef-a5ed-4707-9b98-df90ced858bb" providerId="ADAL" clId="{8679E6AA-4827-4B1D-A5B6-33F1314B6803}" dt="2022-08-17T22:11:03.900" v="610" actId="403"/>
          <ac:graphicFrameMkLst>
            <pc:docMk/>
            <pc:sldMk cId="2170461711" sldId="7374"/>
            <ac:graphicFrameMk id="8" creationId="{F89844EE-964D-4B60-93D2-000A61A1F541}"/>
          </ac:graphicFrameMkLst>
        </pc:graphicFrameChg>
      </pc:sldChg>
      <pc:sldChg chg="modSp add mod">
        <pc:chgData name="Isaac Collazo" userId="9d87d7ef-a5ed-4707-9b98-df90ced858bb" providerId="ADAL" clId="{8679E6AA-4827-4B1D-A5B6-33F1314B6803}" dt="2022-08-18T12:32:03.041" v="755"/>
        <pc:sldMkLst>
          <pc:docMk/>
          <pc:sldMk cId="181799085" sldId="7375"/>
        </pc:sldMkLst>
        <pc:spChg chg="mod">
          <ac:chgData name="Isaac Collazo" userId="9d87d7ef-a5ed-4707-9b98-df90ced858bb" providerId="ADAL" clId="{8679E6AA-4827-4B1D-A5B6-33F1314B6803}" dt="2022-08-18T12:31:29.336" v="754" actId="5793"/>
          <ac:spMkLst>
            <pc:docMk/>
            <pc:sldMk cId="181799085" sldId="7375"/>
            <ac:spMk id="3" creationId="{2DAC3DEB-DC19-4EE2-9A33-A8B80DE7E831}"/>
          </ac:spMkLst>
        </pc:spChg>
        <pc:spChg chg="mod">
          <ac:chgData name="Isaac Collazo" userId="9d87d7ef-a5ed-4707-9b98-df90ced858bb" providerId="ADAL" clId="{8679E6AA-4827-4B1D-A5B6-33F1314B6803}" dt="2022-08-18T12:24:48.061" v="721" actId="20577"/>
          <ac:spMkLst>
            <pc:docMk/>
            <pc:sldMk cId="181799085" sldId="7375"/>
            <ac:spMk id="7" creationId="{FEC98628-DB54-418E-A46D-ACE13E318537}"/>
          </ac:spMkLst>
        </pc:spChg>
        <pc:graphicFrameChg chg="mod">
          <ac:chgData name="Isaac Collazo" userId="9d87d7ef-a5ed-4707-9b98-df90ced858bb" providerId="ADAL" clId="{8679E6AA-4827-4B1D-A5B6-33F1314B6803}" dt="2022-08-18T12:32:03.041" v="755"/>
          <ac:graphicFrameMkLst>
            <pc:docMk/>
            <pc:sldMk cId="181799085" sldId="7375"/>
            <ac:graphicFrameMk id="8" creationId="{5977D3C0-5FAE-4086-B6E3-9410B561A25B}"/>
          </ac:graphicFrameMkLst>
        </pc:graphicFrameChg>
      </pc:sldChg>
      <pc:sldChg chg="del">
        <pc:chgData name="Isaac Collazo" userId="9d87d7ef-a5ed-4707-9b98-df90ced858bb" providerId="ADAL" clId="{8679E6AA-4827-4B1D-A5B6-33F1314B6803}" dt="2022-08-17T00:11:23.710" v="40" actId="47"/>
        <pc:sldMkLst>
          <pc:docMk/>
          <pc:sldMk cId="491639346" sldId="7375"/>
        </pc:sldMkLst>
      </pc:sldChg>
      <pc:sldChg chg="del">
        <pc:chgData name="Isaac Collazo" userId="9d87d7ef-a5ed-4707-9b98-df90ced858bb" providerId="ADAL" clId="{8679E6AA-4827-4B1D-A5B6-33F1314B6803}" dt="2022-08-17T00:11:26.609" v="41" actId="47"/>
        <pc:sldMkLst>
          <pc:docMk/>
          <pc:sldMk cId="2072506355" sldId="7376"/>
        </pc:sldMkLst>
      </pc:sldChg>
      <pc:sldMasterChg chg="delSldLayout">
        <pc:chgData name="Isaac Collazo" userId="9d87d7ef-a5ed-4707-9b98-df90ced858bb" providerId="ADAL" clId="{8679E6AA-4827-4B1D-A5B6-33F1314B6803}" dt="2022-08-17T00:06:14.156" v="30" actId="47"/>
        <pc:sldMasterMkLst>
          <pc:docMk/>
          <pc:sldMasterMk cId="3437328301" sldId="2147483660"/>
        </pc:sldMasterMkLst>
        <pc:sldLayoutChg chg="del">
          <pc:chgData name="Isaac Collazo" userId="9d87d7ef-a5ed-4707-9b98-df90ced858bb" providerId="ADAL" clId="{8679E6AA-4827-4B1D-A5B6-33F1314B6803}" dt="2022-08-17T00:06:14.156" v="30" actId="47"/>
          <pc:sldLayoutMkLst>
            <pc:docMk/>
            <pc:sldMasterMk cId="3437328301" sldId="2147483660"/>
            <pc:sldLayoutMk cId="2561614735" sldId="2147483670"/>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1.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4.xml"/><Relationship Id="rId1" Type="http://schemas.microsoft.com/office/2011/relationships/chartStyle" Target="style4.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3.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4.xml"/></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5.xml"/><Relationship Id="rId1" Type="http://schemas.microsoft.com/office/2011/relationships/chartStyle" Target="style5.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6.xml"/><Relationship Id="rId1" Type="http://schemas.microsoft.com/office/2011/relationships/chartStyle" Target="style6.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7.xml"/><Relationship Id="rId1" Type="http://schemas.microsoft.com/office/2011/relationships/chartStyle" Target="style7.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8.xml"/><Relationship Id="rId1" Type="http://schemas.microsoft.com/office/2011/relationships/chartStyle" Target="style8.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179988613457026E-2"/>
          <c:y val="5.7127623506566763E-2"/>
          <c:w val="0.92625850948712918"/>
          <c:h val="0.77059733424379828"/>
        </c:manualLayout>
      </c:layout>
      <c:lineChart>
        <c:grouping val="standard"/>
        <c:varyColors val="0"/>
        <c:ser>
          <c:idx val="1"/>
          <c:order val="0"/>
          <c:tx>
            <c:strRef>
              <c:f>Sheet1!$B$1</c:f>
              <c:strCache>
                <c:ptCount val="1"/>
                <c:pt idx="0">
                  <c:v>Column1</c:v>
                </c:pt>
              </c:strCache>
            </c:strRef>
          </c:tx>
          <c:spPr>
            <a:ln w="19050">
              <a:solidFill>
                <a:schemeClr val="accent4"/>
              </a:solidFill>
            </a:ln>
          </c:spPr>
          <c:marker>
            <c:spPr>
              <a:solidFill>
                <a:schemeClr val="accent4"/>
              </a:solidFill>
              <a:ln w="19050">
                <a:solidFill>
                  <a:schemeClr val="accent4"/>
                </a:solidFill>
              </a:ln>
            </c:spPr>
          </c:marker>
          <c:dPt>
            <c:idx val="5"/>
            <c:marker>
              <c:symbol val="square"/>
              <c:size val="11"/>
              <c:spPr>
                <a:solidFill>
                  <a:srgbClr val="FFC000"/>
                </a:solidFill>
                <a:ln w="19050">
                  <a:solidFill>
                    <a:schemeClr val="accent4"/>
                  </a:solidFill>
                </a:ln>
              </c:spPr>
            </c:marker>
            <c:bubble3D val="0"/>
            <c:extLst>
              <c:ext xmlns:c16="http://schemas.microsoft.com/office/drawing/2014/chart" uri="{C3380CC4-5D6E-409C-BE32-E72D297353CC}">
                <c16:uniqueId val="{00000002-19C0-4E7C-8720-1A153994A63D}"/>
              </c:ext>
            </c:extLst>
          </c:dPt>
          <c:dPt>
            <c:idx val="18"/>
            <c:marker>
              <c:symbol val="square"/>
              <c:size val="11"/>
              <c:spPr>
                <a:solidFill>
                  <a:srgbClr val="FFC000"/>
                </a:solidFill>
                <a:ln w="19050">
                  <a:solidFill>
                    <a:schemeClr val="accent4"/>
                  </a:solidFill>
                </a:ln>
              </c:spPr>
            </c:marker>
            <c:bubble3D val="0"/>
            <c:extLst>
              <c:ext xmlns:c16="http://schemas.microsoft.com/office/drawing/2014/chart" uri="{C3380CC4-5D6E-409C-BE32-E72D297353CC}">
                <c16:uniqueId val="{00000001-19C0-4E7C-8720-1A153994A63D}"/>
              </c:ext>
            </c:extLst>
          </c:dPt>
          <c:dPt>
            <c:idx val="42"/>
            <c:marker>
              <c:symbol val="square"/>
              <c:size val="11"/>
              <c:spPr>
                <a:solidFill>
                  <a:srgbClr val="FFC000"/>
                </a:solidFill>
                <a:ln w="19050">
                  <a:solidFill>
                    <a:schemeClr val="accent4"/>
                  </a:solidFill>
                </a:ln>
              </c:spPr>
            </c:marker>
            <c:bubble3D val="0"/>
            <c:extLst>
              <c:ext xmlns:c16="http://schemas.microsoft.com/office/drawing/2014/chart" uri="{C3380CC4-5D6E-409C-BE32-E72D297353CC}">
                <c16:uniqueId val="{00000003-19C0-4E7C-8720-1A153994A63D}"/>
              </c:ext>
            </c:extLst>
          </c:dPt>
          <c:dPt>
            <c:idx val="54"/>
            <c:marker>
              <c:symbol val="square"/>
              <c:size val="11"/>
              <c:spPr>
                <a:solidFill>
                  <a:srgbClr val="FFC000"/>
                </a:solidFill>
                <a:ln w="19050">
                  <a:solidFill>
                    <a:schemeClr val="accent4"/>
                  </a:solidFill>
                </a:ln>
              </c:spPr>
            </c:marker>
            <c:bubble3D val="0"/>
            <c:extLst>
              <c:ext xmlns:c16="http://schemas.microsoft.com/office/drawing/2014/chart" uri="{C3380CC4-5D6E-409C-BE32-E72D297353CC}">
                <c16:uniqueId val="{00000003-AD2C-4664-B760-55F612D85355}"/>
              </c:ext>
            </c:extLst>
          </c:dPt>
          <c:dLbls>
            <c:delete val="1"/>
          </c:dLbls>
          <c:cat>
            <c:numRef>
              <c:f>Sheet1!$A$2:$A$56</c:f>
              <c:numCache>
                <c:formatCode>mmm\-yy</c:formatCode>
                <c:ptCount val="55"/>
                <c:pt idx="0">
                  <c:v>43101</c:v>
                </c:pt>
                <c:pt idx="1">
                  <c:v>43132</c:v>
                </c:pt>
                <c:pt idx="2">
                  <c:v>43160</c:v>
                </c:pt>
                <c:pt idx="3">
                  <c:v>43191</c:v>
                </c:pt>
                <c:pt idx="4">
                  <c:v>43221</c:v>
                </c:pt>
                <c:pt idx="5">
                  <c:v>43252</c:v>
                </c:pt>
                <c:pt idx="6">
                  <c:v>43282</c:v>
                </c:pt>
                <c:pt idx="7">
                  <c:v>43313</c:v>
                </c:pt>
                <c:pt idx="8">
                  <c:v>43344</c:v>
                </c:pt>
                <c:pt idx="9">
                  <c:v>43374</c:v>
                </c:pt>
                <c:pt idx="10">
                  <c:v>43405</c:v>
                </c:pt>
                <c:pt idx="11">
                  <c:v>43435</c:v>
                </c:pt>
                <c:pt idx="12">
                  <c:v>43466</c:v>
                </c:pt>
                <c:pt idx="13">
                  <c:v>43497</c:v>
                </c:pt>
                <c:pt idx="14">
                  <c:v>43525</c:v>
                </c:pt>
                <c:pt idx="15">
                  <c:v>43556</c:v>
                </c:pt>
                <c:pt idx="16">
                  <c:v>43586</c:v>
                </c:pt>
                <c:pt idx="17">
                  <c:v>43617</c:v>
                </c:pt>
                <c:pt idx="18">
                  <c:v>43647</c:v>
                </c:pt>
                <c:pt idx="19">
                  <c:v>43678</c:v>
                </c:pt>
                <c:pt idx="20">
                  <c:v>43709</c:v>
                </c:pt>
                <c:pt idx="21">
                  <c:v>43739</c:v>
                </c:pt>
                <c:pt idx="22">
                  <c:v>43770</c:v>
                </c:pt>
                <c:pt idx="23">
                  <c:v>43800</c:v>
                </c:pt>
                <c:pt idx="24">
                  <c:v>43831</c:v>
                </c:pt>
                <c:pt idx="25">
                  <c:v>43862</c:v>
                </c:pt>
                <c:pt idx="26">
                  <c:v>43891</c:v>
                </c:pt>
                <c:pt idx="27">
                  <c:v>43922</c:v>
                </c:pt>
                <c:pt idx="28">
                  <c:v>43952</c:v>
                </c:pt>
                <c:pt idx="29">
                  <c:v>43983</c:v>
                </c:pt>
                <c:pt idx="30">
                  <c:v>44013</c:v>
                </c:pt>
                <c:pt idx="31">
                  <c:v>44044</c:v>
                </c:pt>
                <c:pt idx="32">
                  <c:v>44075</c:v>
                </c:pt>
                <c:pt idx="33">
                  <c:v>44105</c:v>
                </c:pt>
                <c:pt idx="34">
                  <c:v>44136</c:v>
                </c:pt>
                <c:pt idx="35">
                  <c:v>44166</c:v>
                </c:pt>
                <c:pt idx="36">
                  <c:v>44197</c:v>
                </c:pt>
                <c:pt idx="37">
                  <c:v>44228</c:v>
                </c:pt>
                <c:pt idx="38">
                  <c:v>44256</c:v>
                </c:pt>
                <c:pt idx="39">
                  <c:v>44287</c:v>
                </c:pt>
                <c:pt idx="40">
                  <c:v>44317</c:v>
                </c:pt>
                <c:pt idx="41">
                  <c:v>44348</c:v>
                </c:pt>
                <c:pt idx="42">
                  <c:v>44378</c:v>
                </c:pt>
                <c:pt idx="43">
                  <c:v>44409</c:v>
                </c:pt>
                <c:pt idx="44">
                  <c:v>44440</c:v>
                </c:pt>
                <c:pt idx="45">
                  <c:v>44470</c:v>
                </c:pt>
                <c:pt idx="46">
                  <c:v>44501</c:v>
                </c:pt>
                <c:pt idx="47">
                  <c:v>44531</c:v>
                </c:pt>
                <c:pt idx="48">
                  <c:v>44562</c:v>
                </c:pt>
                <c:pt idx="49">
                  <c:v>44593</c:v>
                </c:pt>
                <c:pt idx="50">
                  <c:v>44621</c:v>
                </c:pt>
                <c:pt idx="51">
                  <c:v>44652</c:v>
                </c:pt>
                <c:pt idx="52">
                  <c:v>44682</c:v>
                </c:pt>
                <c:pt idx="53">
                  <c:v>44713</c:v>
                </c:pt>
                <c:pt idx="54">
                  <c:v>44743</c:v>
                </c:pt>
              </c:numCache>
            </c:numRef>
          </c:cat>
          <c:val>
            <c:numRef>
              <c:f>Sheet1!$B$2:$B$56</c:f>
              <c:numCache>
                <c:formatCode>#,##0</c:formatCode>
                <c:ptCount val="55"/>
                <c:pt idx="0">
                  <c:v>2829300</c:v>
                </c:pt>
                <c:pt idx="1">
                  <c:v>3214870.3571428573</c:v>
                </c:pt>
                <c:pt idx="2">
                  <c:v>3578256.8387096776</c:v>
                </c:pt>
                <c:pt idx="3">
                  <c:v>3563708.8</c:v>
                </c:pt>
                <c:pt idx="4">
                  <c:v>3612315.0967741935</c:v>
                </c:pt>
                <c:pt idx="5">
                  <c:v>3964895.5666666669</c:v>
                </c:pt>
                <c:pt idx="6">
                  <c:v>3917318.6451612902</c:v>
                </c:pt>
                <c:pt idx="7">
                  <c:v>3813630.4193548388</c:v>
                </c:pt>
                <c:pt idx="8">
                  <c:v>3634448.5333333332</c:v>
                </c:pt>
                <c:pt idx="9">
                  <c:v>3723730.2258064514</c:v>
                </c:pt>
                <c:pt idx="10">
                  <c:v>3266278.1</c:v>
                </c:pt>
                <c:pt idx="11">
                  <c:v>2869644.5806451612</c:v>
                </c:pt>
                <c:pt idx="12">
                  <c:v>2899805.1290322579</c:v>
                </c:pt>
                <c:pt idx="13">
                  <c:v>3297087.9642857141</c:v>
                </c:pt>
                <c:pt idx="14">
                  <c:v>3637015.3870967743</c:v>
                </c:pt>
                <c:pt idx="15">
                  <c:v>3634371.9666666668</c:v>
                </c:pt>
                <c:pt idx="16">
                  <c:v>3705575.6774193547</c:v>
                </c:pt>
                <c:pt idx="17">
                  <c:v>3971710.4666666668</c:v>
                </c:pt>
                <c:pt idx="18">
                  <c:v>3993793.4838709678</c:v>
                </c:pt>
                <c:pt idx="19">
                  <c:v>3873450.8387096776</c:v>
                </c:pt>
                <c:pt idx="20">
                  <c:v>3656470.3</c:v>
                </c:pt>
                <c:pt idx="21">
                  <c:v>3748763.1612903224</c:v>
                </c:pt>
                <c:pt idx="22">
                  <c:v>3317378.6</c:v>
                </c:pt>
                <c:pt idx="23">
                  <c:v>2925683.1612903224</c:v>
                </c:pt>
                <c:pt idx="24">
                  <c:v>2960636.6774193547</c:v>
                </c:pt>
                <c:pt idx="25">
                  <c:v>3364706.5357142859</c:v>
                </c:pt>
                <c:pt idx="26">
                  <c:v>2104695.3225806453</c:v>
                </c:pt>
                <c:pt idx="27">
                  <c:v>1129931.6666666667</c:v>
                </c:pt>
                <c:pt idx="28">
                  <c:v>1568473.064516129</c:v>
                </c:pt>
                <c:pt idx="29">
                  <c:v>2123127.2333333334</c:v>
                </c:pt>
                <c:pt idx="30">
                  <c:v>2431068.7096774192</c:v>
                </c:pt>
                <c:pt idx="31">
                  <c:v>2548463.7419354836</c:v>
                </c:pt>
                <c:pt idx="32">
                  <c:v>2545311.9</c:v>
                </c:pt>
                <c:pt idx="33">
                  <c:v>2562367.3548387098</c:v>
                </c:pt>
                <c:pt idx="34">
                  <c:v>2124639.6</c:v>
                </c:pt>
                <c:pt idx="35">
                  <c:v>1921244</c:v>
                </c:pt>
                <c:pt idx="36">
                  <c:v>2055260.2903225806</c:v>
                </c:pt>
                <c:pt idx="37">
                  <c:v>2388439.3928571427</c:v>
                </c:pt>
                <c:pt idx="38">
                  <c:v>2883825.1935483869</c:v>
                </c:pt>
                <c:pt idx="39">
                  <c:v>3076884.5666666669</c:v>
                </c:pt>
                <c:pt idx="40">
                  <c:v>3221840</c:v>
                </c:pt>
                <c:pt idx="41">
                  <c:v>3618894.7</c:v>
                </c:pt>
                <c:pt idx="42">
                  <c:v>3825690.3548387098</c:v>
                </c:pt>
                <c:pt idx="43">
                  <c:v>3488973.2258064514</c:v>
                </c:pt>
                <c:pt idx="44">
                  <c:v>3403119.7</c:v>
                </c:pt>
                <c:pt idx="45">
                  <c:v>3472184.6774193547</c:v>
                </c:pt>
                <c:pt idx="46">
                  <c:v>3160369.2666666666</c:v>
                </c:pt>
                <c:pt idx="47">
                  <c:v>2928170.9032258065</c:v>
                </c:pt>
                <c:pt idx="48">
                  <c:v>2620057.7741935486</c:v>
                </c:pt>
                <c:pt idx="49">
                  <c:v>3126715.7142857141</c:v>
                </c:pt>
                <c:pt idx="50">
                  <c:v>3520678.1935483869</c:v>
                </c:pt>
                <c:pt idx="51">
                  <c:v>3623656.7666666666</c:v>
                </c:pt>
                <c:pt idx="52">
                  <c:v>3622706.0322580645</c:v>
                </c:pt>
                <c:pt idx="53">
                  <c:v>3909252.9666666668</c:v>
                </c:pt>
                <c:pt idx="54">
                  <c:v>3885265.5161290322</c:v>
                </c:pt>
              </c:numCache>
            </c:numRef>
          </c:val>
          <c:smooth val="0"/>
          <c:extLst>
            <c:ext xmlns:c16="http://schemas.microsoft.com/office/drawing/2014/chart" uri="{C3380CC4-5D6E-409C-BE32-E72D297353CC}">
              <c16:uniqueId val="{00000000-D6ED-44AC-93D5-BBB7AD98F48C}"/>
            </c:ext>
          </c:extLst>
        </c:ser>
        <c:dLbls>
          <c:showLegendKey val="0"/>
          <c:showVal val="1"/>
          <c:showCatName val="0"/>
          <c:showSerName val="0"/>
          <c:showPercent val="0"/>
          <c:showBubbleSize val="0"/>
        </c:dLbls>
        <c:marker val="1"/>
        <c:smooth val="0"/>
        <c:axId val="246111808"/>
        <c:axId val="246112200"/>
      </c:lineChart>
      <c:catAx>
        <c:axId val="246111808"/>
        <c:scaling>
          <c:orientation val="minMax"/>
        </c:scaling>
        <c:delete val="0"/>
        <c:axPos val="b"/>
        <c:numFmt formatCode="[$-409]mmm\-yy;@" sourceLinked="0"/>
        <c:majorTickMark val="out"/>
        <c:minorTickMark val="none"/>
        <c:tickLblPos val="low"/>
        <c:spPr>
          <a:ln>
            <a:solidFill>
              <a:srgbClr val="000000"/>
            </a:solidFill>
          </a:ln>
        </c:spPr>
        <c:txPr>
          <a:bodyPr rot="-5400000" vert="horz"/>
          <a:lstStyle/>
          <a:p>
            <a:pPr>
              <a:defRPr sz="1200">
                <a:solidFill>
                  <a:srgbClr val="3F3F3F"/>
                </a:solidFill>
              </a:defRPr>
            </a:pPr>
            <a:endParaRPr lang="en-US"/>
          </a:p>
        </c:txPr>
        <c:crossAx val="246112200"/>
        <c:crosses val="autoZero"/>
        <c:auto val="0"/>
        <c:lblAlgn val="ctr"/>
        <c:lblOffset val="100"/>
        <c:tickLblSkip val="1"/>
        <c:noMultiLvlLbl val="0"/>
      </c:catAx>
      <c:valAx>
        <c:axId val="246112200"/>
        <c:scaling>
          <c:orientation val="minMax"/>
        </c:scaling>
        <c:delete val="0"/>
        <c:axPos val="l"/>
        <c:majorGridlines>
          <c:spPr>
            <a:ln>
              <a:solidFill>
                <a:schemeClr val="bg1">
                  <a:lumMod val="85000"/>
                </a:schemeClr>
              </a:solidFill>
            </a:ln>
          </c:spPr>
        </c:majorGridlines>
        <c:numFmt formatCode="#,##0.0" sourceLinked="0"/>
        <c:majorTickMark val="out"/>
        <c:minorTickMark val="none"/>
        <c:tickLblPos val="nextTo"/>
        <c:spPr>
          <a:ln>
            <a:solidFill>
              <a:srgbClr val="000000"/>
            </a:solidFill>
          </a:ln>
        </c:spPr>
        <c:txPr>
          <a:bodyPr/>
          <a:lstStyle/>
          <a:p>
            <a:pPr>
              <a:defRPr>
                <a:solidFill>
                  <a:srgbClr val="3F3F3F"/>
                </a:solidFill>
              </a:defRPr>
            </a:pPr>
            <a:endParaRPr lang="en-US"/>
          </a:p>
        </c:txPr>
        <c:crossAx val="246111808"/>
        <c:crosses val="autoZero"/>
        <c:crossBetween val="between"/>
        <c:dispUnits>
          <c:builtInUnit val="millions"/>
        </c:dispUnits>
      </c:valAx>
      <c:spPr>
        <a:noFill/>
        <a:ln w="25400">
          <a:noFill/>
        </a:ln>
      </c:spPr>
    </c:plotArea>
    <c:plotVisOnly val="1"/>
    <c:dispBlanksAs val="gap"/>
    <c:showDLblsOverMax val="0"/>
  </c:chart>
  <c:spPr>
    <a:ln>
      <a:noFill/>
    </a:ln>
  </c:spPr>
  <c:txPr>
    <a:bodyPr/>
    <a:lstStyle/>
    <a:p>
      <a:pPr>
        <a:defRPr sz="1400" b="1">
          <a:solidFill>
            <a:srgbClr val="000000"/>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600">
                <a:solidFill>
                  <a:srgbClr val="3F3F3F"/>
                </a:solidFill>
              </a:defRPr>
            </a:pPr>
            <a:r>
              <a:rPr lang="en-US" sz="1600" dirty="0">
                <a:solidFill>
                  <a:srgbClr val="3F3F3F"/>
                </a:solidFill>
                <a:latin typeface="Calibri" panose="020F0502020204030204" pitchFamily="34" charset="0"/>
                <a:cs typeface="Calibri" panose="020F0502020204030204" pitchFamily="34" charset="0"/>
              </a:rPr>
              <a:t>Total Market</a:t>
            </a:r>
            <a:endParaRPr lang="en-US" sz="1400" dirty="0">
              <a:solidFill>
                <a:srgbClr val="3F3F3F"/>
              </a:solidFill>
              <a:latin typeface="Calibri" panose="020F0502020204030204" pitchFamily="34" charset="0"/>
              <a:cs typeface="Calibri" panose="020F0502020204030204" pitchFamily="34" charset="0"/>
            </a:endParaRPr>
          </a:p>
        </c:rich>
      </c:tx>
      <c:overlay val="0"/>
    </c:title>
    <c:autoTitleDeleted val="0"/>
    <c:plotArea>
      <c:layout>
        <c:manualLayout>
          <c:layoutTarget val="inner"/>
          <c:xMode val="edge"/>
          <c:yMode val="edge"/>
          <c:x val="1.5901700400581704E-2"/>
          <c:y val="0.15712157157579479"/>
          <c:w val="0.96819660281893749"/>
          <c:h val="0.74790194310360802"/>
        </c:manualLayout>
      </c:layout>
      <c:barChart>
        <c:barDir val="col"/>
        <c:grouping val="clustered"/>
        <c:varyColors val="0"/>
        <c:ser>
          <c:idx val="0"/>
          <c:order val="0"/>
          <c:tx>
            <c:strRef>
              <c:f>Sheet1!$C$2</c:f>
              <c:strCache>
                <c:ptCount val="1"/>
                <c:pt idx="0">
                  <c:v>Actual</c:v>
                </c:pt>
              </c:strCache>
            </c:strRef>
          </c:tx>
          <c:spPr>
            <a:solidFill>
              <a:srgbClr val="00005B"/>
            </a:solidFill>
            <a:ln>
              <a:solidFill>
                <a:srgbClr val="00005B"/>
              </a:solidFill>
            </a:ln>
          </c:spPr>
          <c:invertIfNegative val="0"/>
          <c:dLbls>
            <c:numFmt formatCode="#,##0" sourceLinked="0"/>
            <c:spPr>
              <a:noFill/>
              <a:ln>
                <a:noFill/>
              </a:ln>
              <a:effectLst/>
            </c:spPr>
            <c:txPr>
              <a:bodyPr/>
              <a:lstStyle/>
              <a:p>
                <a:pPr>
                  <a:defRPr sz="1400" b="1">
                    <a:solidFill>
                      <a:srgbClr val="3F3F3F"/>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3:$B$5</c:f>
              <c:numCache>
                <c:formatCode>General</c:formatCode>
                <c:ptCount val="3"/>
                <c:pt idx="0">
                  <c:v>2020</c:v>
                </c:pt>
                <c:pt idx="1">
                  <c:v>2021</c:v>
                </c:pt>
                <c:pt idx="2">
                  <c:v>2022</c:v>
                </c:pt>
              </c:numCache>
            </c:numRef>
          </c:cat>
          <c:val>
            <c:numRef>
              <c:f>Sheet1!$C$3:$C$5</c:f>
              <c:numCache>
                <c:formatCode>#,##0</c:formatCode>
                <c:ptCount val="3"/>
                <c:pt idx="0">
                  <c:v>72.069007042613492</c:v>
                </c:pt>
                <c:pt idx="1">
                  <c:v>96.490764493353169</c:v>
                </c:pt>
                <c:pt idx="2">
                  <c:v>102.17775523237387</c:v>
                </c:pt>
              </c:numCache>
            </c:numRef>
          </c:val>
          <c:extLst>
            <c:ext xmlns:c16="http://schemas.microsoft.com/office/drawing/2014/chart" uri="{C3380CC4-5D6E-409C-BE32-E72D297353CC}">
              <c16:uniqueId val="{00000000-34C2-46FC-AE63-BABD1097AB08}"/>
            </c:ext>
          </c:extLst>
        </c:ser>
        <c:ser>
          <c:idx val="1"/>
          <c:order val="1"/>
          <c:tx>
            <c:strRef>
              <c:f>Sheet1!$D$2</c:f>
              <c:strCache>
                <c:ptCount val="1"/>
                <c:pt idx="0">
                  <c:v>Forecast</c:v>
                </c:pt>
              </c:strCache>
            </c:strRef>
          </c:tx>
          <c:spPr>
            <a:pattFill prst="dkHorz">
              <a:fgClr>
                <a:srgbClr val="1F8776"/>
              </a:fgClr>
              <a:bgClr>
                <a:srgbClr val="FFFFFF"/>
              </a:bgClr>
            </a:pattFill>
            <a:ln>
              <a:solidFill>
                <a:srgbClr val="00A88C"/>
              </a:solidFill>
            </a:ln>
          </c:spPr>
          <c:invertIfNegative val="0"/>
          <c:dLbls>
            <c:numFmt formatCode="#,##0.0" sourceLinked="0"/>
            <c:spPr>
              <a:noFill/>
              <a:ln>
                <a:noFill/>
              </a:ln>
              <a:effectLst/>
            </c:spPr>
            <c:txPr>
              <a:bodyPr wrap="square" lIns="38100" tIns="19050" rIns="38100" bIns="19050" anchor="ctr">
                <a:spAutoFit/>
              </a:bodyPr>
              <a:lstStyle/>
              <a:p>
                <a:pPr>
                  <a:defRPr sz="1200" b="1">
                    <a:solidFill>
                      <a:srgbClr val="3F3F3F"/>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3:$B$5</c:f>
              <c:numCache>
                <c:formatCode>General</c:formatCode>
                <c:ptCount val="3"/>
                <c:pt idx="0">
                  <c:v>2020</c:v>
                </c:pt>
                <c:pt idx="1">
                  <c:v>2021</c:v>
                </c:pt>
                <c:pt idx="2">
                  <c:v>2022</c:v>
                </c:pt>
              </c:numCache>
            </c:numRef>
          </c:cat>
          <c:val>
            <c:numRef>
              <c:f>Sheet1!$D$3:$D$5</c:f>
              <c:numCache>
                <c:formatCode>General</c:formatCode>
                <c:ptCount val="3"/>
              </c:numCache>
            </c:numRef>
          </c:val>
          <c:extLst>
            <c:ext xmlns:c16="http://schemas.microsoft.com/office/drawing/2014/chart" uri="{C3380CC4-5D6E-409C-BE32-E72D297353CC}">
              <c16:uniqueId val="{00000000-AF57-4962-8E91-529D1AE7B67D}"/>
            </c:ext>
          </c:extLst>
        </c:ser>
        <c:dLbls>
          <c:showLegendKey val="0"/>
          <c:showVal val="0"/>
          <c:showCatName val="0"/>
          <c:showSerName val="0"/>
          <c:showPercent val="0"/>
          <c:showBubbleSize val="0"/>
        </c:dLbls>
        <c:gapWidth val="60"/>
        <c:overlap val="100"/>
        <c:axId val="367692464"/>
        <c:axId val="367693024"/>
      </c:barChart>
      <c:catAx>
        <c:axId val="367692464"/>
        <c:scaling>
          <c:orientation val="minMax"/>
        </c:scaling>
        <c:delete val="0"/>
        <c:axPos val="b"/>
        <c:numFmt formatCode="General" sourceLinked="1"/>
        <c:majorTickMark val="out"/>
        <c:minorTickMark val="none"/>
        <c:tickLblPos val="nextTo"/>
        <c:spPr>
          <a:ln>
            <a:solidFill>
              <a:srgbClr val="150603"/>
            </a:solidFill>
          </a:ln>
        </c:spPr>
        <c:txPr>
          <a:bodyPr/>
          <a:lstStyle/>
          <a:p>
            <a:pPr>
              <a:defRPr sz="1400" b="1">
                <a:solidFill>
                  <a:srgbClr val="3F3F3F"/>
                </a:solidFill>
              </a:defRPr>
            </a:pPr>
            <a:endParaRPr lang="en-US"/>
          </a:p>
        </c:txPr>
        <c:crossAx val="367693024"/>
        <c:crosses val="autoZero"/>
        <c:auto val="0"/>
        <c:lblAlgn val="ctr"/>
        <c:lblOffset val="100"/>
        <c:noMultiLvlLbl val="0"/>
      </c:catAx>
      <c:valAx>
        <c:axId val="367693024"/>
        <c:scaling>
          <c:orientation val="minMax"/>
        </c:scaling>
        <c:delete val="1"/>
        <c:axPos val="l"/>
        <c:numFmt formatCode="#,##0.0" sourceLinked="0"/>
        <c:majorTickMark val="out"/>
        <c:minorTickMark val="none"/>
        <c:tickLblPos val="nextTo"/>
        <c:crossAx val="367692464"/>
        <c:crosses val="autoZero"/>
        <c:crossBetween val="between"/>
      </c:valAx>
    </c:plotArea>
    <c:plotVisOnly val="1"/>
    <c:dispBlanksAs val="gap"/>
    <c:showDLblsOverMax val="0"/>
  </c:chart>
  <c:spPr>
    <a:ln>
      <a:solidFill>
        <a:srgbClr val="1F8776"/>
      </a:solidFill>
    </a:ln>
  </c:spPr>
  <c:txPr>
    <a:bodyPr/>
    <a:lstStyle/>
    <a:p>
      <a:pPr>
        <a:defRPr sz="1600"/>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a:solidFill>
                  <a:schemeClr val="tx1"/>
                </a:solidFill>
                <a:latin typeface="+mn-lt"/>
              </a:defRPr>
            </a:pPr>
            <a:r>
              <a:rPr lang="en-US" sz="1600" baseline="0" dirty="0">
                <a:solidFill>
                  <a:schemeClr val="tx1"/>
                </a:solidFill>
                <a:latin typeface="+mn-lt"/>
              </a:rPr>
              <a:t>Sub-Markets</a:t>
            </a:r>
          </a:p>
        </c:rich>
      </c:tx>
      <c:overlay val="0"/>
    </c:title>
    <c:autoTitleDeleted val="0"/>
    <c:plotArea>
      <c:layout>
        <c:manualLayout>
          <c:layoutTarget val="inner"/>
          <c:xMode val="edge"/>
          <c:yMode val="edge"/>
          <c:x val="2.3262490306798448E-2"/>
          <c:y val="0.15850389265673875"/>
          <c:w val="0.96359175152306586"/>
          <c:h val="0.7375656249335012"/>
        </c:manualLayout>
      </c:layout>
      <c:barChart>
        <c:barDir val="col"/>
        <c:grouping val="clustered"/>
        <c:varyColors val="0"/>
        <c:ser>
          <c:idx val="0"/>
          <c:order val="2"/>
          <c:tx>
            <c:strRef>
              <c:f>Sheet1!$B$1</c:f>
              <c:strCache>
                <c:ptCount val="1"/>
                <c:pt idx="0">
                  <c:v>2022</c:v>
                </c:pt>
              </c:strCache>
            </c:strRef>
          </c:tx>
          <c:spPr>
            <a:solidFill>
              <a:schemeClr val="accent4"/>
            </a:solidFill>
            <a:ln w="9525">
              <a:solidFill>
                <a:schemeClr val="accent4"/>
              </a:solidFill>
            </a:ln>
          </c:spPr>
          <c:invertIfNegative val="0"/>
          <c:dPt>
            <c:idx val="17"/>
            <c:invertIfNegative val="0"/>
            <c:bubble3D val="0"/>
            <c:extLst>
              <c:ext xmlns:c16="http://schemas.microsoft.com/office/drawing/2014/chart" uri="{C3380CC4-5D6E-409C-BE32-E72D297353CC}">
                <c16:uniqueId val="{00000000-59FB-4246-B78B-86738B792D9A}"/>
              </c:ext>
            </c:extLst>
          </c:dPt>
          <c:dLbls>
            <c:numFmt formatCode="#,##0" sourceLinked="0"/>
            <c:spPr>
              <a:noFill/>
              <a:ln>
                <a:noFill/>
              </a:ln>
              <a:effectLst/>
            </c:spPr>
            <c:txPr>
              <a:bodyPr wrap="square" lIns="38100" tIns="19050" rIns="38100" bIns="19050" anchor="ctr">
                <a:spAutoFit/>
              </a:bodyPr>
              <a:lstStyle/>
              <a:p>
                <a:pPr>
                  <a:defRPr sz="1400">
                    <a:latin typeface="+mn-lt"/>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DTWN Core</c:v>
                </c:pt>
                <c:pt idx="1">
                  <c:v>Downtown</c:v>
                </c:pt>
                <c:pt idx="2">
                  <c:v>East</c:v>
                </c:pt>
                <c:pt idx="3">
                  <c:v>Airport/South</c:v>
                </c:pt>
                <c:pt idx="4">
                  <c:v>West</c:v>
                </c:pt>
              </c:strCache>
            </c:strRef>
          </c:cat>
          <c:val>
            <c:numRef>
              <c:f>Sheet1!$B$2:$B$6</c:f>
              <c:numCache>
                <c:formatCode>0.0</c:formatCode>
                <c:ptCount val="5"/>
                <c:pt idx="0" formatCode="0.00">
                  <c:v>97.384587916881387</c:v>
                </c:pt>
                <c:pt idx="1">
                  <c:v>100.4975709952636</c:v>
                </c:pt>
                <c:pt idx="2">
                  <c:v>100.77019566678504</c:v>
                </c:pt>
                <c:pt idx="3">
                  <c:v>99.143580604479538</c:v>
                </c:pt>
                <c:pt idx="4">
                  <c:v>102.17731091295082</c:v>
                </c:pt>
              </c:numCache>
            </c:numRef>
          </c:val>
          <c:extLst>
            <c:ext xmlns:c16="http://schemas.microsoft.com/office/drawing/2014/chart" uri="{C3380CC4-5D6E-409C-BE32-E72D297353CC}">
              <c16:uniqueId val="{00000000-E45E-4863-95F4-498951C799D9}"/>
            </c:ext>
          </c:extLst>
        </c:ser>
        <c:dLbls>
          <c:showLegendKey val="0"/>
          <c:showVal val="0"/>
          <c:showCatName val="0"/>
          <c:showSerName val="0"/>
          <c:showPercent val="0"/>
          <c:showBubbleSize val="0"/>
        </c:dLbls>
        <c:gapWidth val="60"/>
        <c:overlap val="50"/>
        <c:axId val="382568736"/>
        <c:axId val="38256952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2019</c:v>
                      </c:pt>
                    </c:strCache>
                  </c:strRef>
                </c:tx>
                <c:spPr>
                  <a:solidFill>
                    <a:schemeClr val="bg1">
                      <a:lumMod val="75000"/>
                    </a:schemeClr>
                  </a:solidFill>
                  <a:ln>
                    <a:solidFill>
                      <a:schemeClr val="bg1">
                        <a:lumMod val="75000"/>
                      </a:schemeClr>
                    </a:solidFill>
                  </a:ln>
                </c:spPr>
                <c:invertIfNegative val="0"/>
                <c:cat>
                  <c:strRef>
                    <c:extLst>
                      <c:ext uri="{02D57815-91ED-43cb-92C2-25804820EDAC}">
                        <c15:formulaRef>
                          <c15:sqref>Sheet1!$A$2:$A$6</c15:sqref>
                        </c15:formulaRef>
                      </c:ext>
                    </c:extLst>
                    <c:strCache>
                      <c:ptCount val="5"/>
                      <c:pt idx="0">
                        <c:v>DTWN Core</c:v>
                      </c:pt>
                      <c:pt idx="1">
                        <c:v>Downtown</c:v>
                      </c:pt>
                      <c:pt idx="2">
                        <c:v>East</c:v>
                      </c:pt>
                      <c:pt idx="3">
                        <c:v>Airport/South</c:v>
                      </c:pt>
                      <c:pt idx="4">
                        <c:v>West</c:v>
                      </c:pt>
                    </c:strCache>
                  </c:strRef>
                </c:cat>
                <c:val>
                  <c:numRef>
                    <c:extLst>
                      <c:ext uri="{02D57815-91ED-43cb-92C2-25804820EDAC}">
                        <c15:formulaRef>
                          <c15:sqref>Sheet1!$C$3:$C$6</c15:sqref>
                        </c15:formulaRef>
                      </c:ext>
                    </c:extLst>
                    <c:numCache>
                      <c:formatCode>0.0%</c:formatCode>
                      <c:ptCount val="4"/>
                      <c:pt idx="0">
                        <c:v>0.67398710729417932</c:v>
                      </c:pt>
                      <c:pt idx="1">
                        <c:v>0.67993683490824897</c:v>
                      </c:pt>
                      <c:pt idx="2">
                        <c:v>0.69263592117758788</c:v>
                      </c:pt>
                      <c:pt idx="3">
                        <c:v>0.59697435474220639</c:v>
                      </c:pt>
                    </c:numCache>
                  </c:numRef>
                </c:val>
                <c:extLst>
                  <c:ext xmlns:c16="http://schemas.microsoft.com/office/drawing/2014/chart" uri="{C3380CC4-5D6E-409C-BE32-E72D297353CC}">
                    <c16:uniqueId val="{00000000-BA90-414E-8039-785A80100772}"/>
                  </c:ext>
                </c:extLst>
              </c15:ser>
            </c15:filteredBarSeries>
          </c:ext>
        </c:extLst>
      </c:barChart>
      <c:lineChart>
        <c:grouping val="standard"/>
        <c:varyColors val="0"/>
        <c:dLbls>
          <c:showLegendKey val="0"/>
          <c:showVal val="0"/>
          <c:showCatName val="0"/>
          <c:showSerName val="0"/>
          <c:showPercent val="0"/>
          <c:showBubbleSize val="0"/>
        </c:dLbls>
        <c:marker val="1"/>
        <c:smooth val="0"/>
        <c:axId val="382568736"/>
        <c:axId val="382569520"/>
        <c:extLst>
          <c:ext xmlns:c15="http://schemas.microsoft.com/office/drawing/2012/chart" uri="{02D57815-91ED-43cb-92C2-25804820EDAC}">
            <c15:filteredLineSeries>
              <c15:ser>
                <c:idx val="2"/>
                <c:order val="0"/>
                <c:tx>
                  <c:strRef>
                    <c:extLst>
                      <c:ext uri="{02D57815-91ED-43cb-92C2-25804820EDAC}">
                        <c15:formulaRef>
                          <c15:sqref>Sheet1!$D$1</c15:sqref>
                        </c15:formulaRef>
                      </c:ext>
                    </c:extLst>
                    <c:strCache>
                      <c:ptCount val="1"/>
                      <c:pt idx="0">
                        <c:v>Line</c:v>
                      </c:pt>
                    </c:strCache>
                  </c:strRef>
                </c:tx>
                <c:spPr>
                  <a:ln w="38100">
                    <a:solidFill>
                      <a:srgbClr val="FFC000"/>
                    </a:solidFill>
                  </a:ln>
                </c:spPr>
                <c:marker>
                  <c:symbol val="none"/>
                </c:marker>
                <c:val>
                  <c:numRef>
                    <c:extLst>
                      <c:ext uri="{02D57815-91ED-43cb-92C2-25804820EDAC}">
                        <c15:formulaRef>
                          <c15:sqref>Sheet1!$D$3:$D$6</c15:sqref>
                        </c15:formulaRef>
                      </c:ext>
                    </c:extLst>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1-C728-4DA6-898B-7638BB15CE1D}"/>
                  </c:ext>
                </c:extLst>
              </c15:ser>
            </c15:filteredLineSeries>
          </c:ext>
        </c:extLst>
      </c:lineChart>
      <c:catAx>
        <c:axId val="382568736"/>
        <c:scaling>
          <c:orientation val="minMax"/>
        </c:scaling>
        <c:delete val="0"/>
        <c:axPos val="b"/>
        <c:numFmt formatCode="[$-409]mmm\-yy;@" sourceLinked="0"/>
        <c:majorTickMark val="none"/>
        <c:minorTickMark val="none"/>
        <c:tickLblPos val="low"/>
        <c:spPr>
          <a:ln w="3368">
            <a:solidFill>
              <a:schemeClr val="tx1"/>
            </a:solidFill>
            <a:prstDash val="solid"/>
          </a:ln>
        </c:spPr>
        <c:txPr>
          <a:bodyPr rot="0" vert="horz"/>
          <a:lstStyle/>
          <a:p>
            <a:pPr>
              <a:defRPr sz="1400" b="1" i="0" u="none" strike="noStrike" baseline="0">
                <a:solidFill>
                  <a:schemeClr val="tx1"/>
                </a:solidFill>
                <a:latin typeface="+mj-lt"/>
                <a:ea typeface="Arial"/>
                <a:cs typeface="Arial"/>
              </a:defRPr>
            </a:pPr>
            <a:endParaRPr lang="en-US"/>
          </a:p>
        </c:txPr>
        <c:crossAx val="382569520"/>
        <c:crosses val="autoZero"/>
        <c:auto val="0"/>
        <c:lblAlgn val="ctr"/>
        <c:lblOffset val="100"/>
        <c:noMultiLvlLbl val="0"/>
      </c:catAx>
      <c:valAx>
        <c:axId val="382569520"/>
        <c:scaling>
          <c:orientation val="minMax"/>
        </c:scaling>
        <c:delete val="1"/>
        <c:axPos val="l"/>
        <c:numFmt formatCode="#,##0" sourceLinked="0"/>
        <c:majorTickMark val="out"/>
        <c:minorTickMark val="none"/>
        <c:tickLblPos val="nextTo"/>
        <c:crossAx val="382568736"/>
        <c:crosses val="autoZero"/>
        <c:crossBetween val="between"/>
      </c:valAx>
      <c:spPr>
        <a:noFill/>
        <a:ln w="25400">
          <a:noFill/>
        </a:ln>
      </c:spPr>
    </c:plotArea>
    <c:plotVisOnly val="1"/>
    <c:dispBlanksAs val="gap"/>
    <c:showDLblsOverMax val="0"/>
  </c:chart>
  <c:spPr>
    <a:noFill/>
    <a:ln>
      <a:solidFill>
        <a:schemeClr val="tx2"/>
      </a:solidFill>
    </a:ln>
  </c:spPr>
  <c:txPr>
    <a:bodyPr/>
    <a:lstStyle/>
    <a:p>
      <a:pPr>
        <a:defRPr sz="1909" b="1" i="0" u="none" strike="noStrike" baseline="0">
          <a:solidFill>
            <a:schemeClr val="tx1"/>
          </a:solidFill>
          <a:latin typeface="Times New Roman"/>
          <a:ea typeface="Times New Roman"/>
          <a:cs typeface="Times New Roman"/>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667158792650919E-2"/>
          <c:y val="7.5936271377357062E-2"/>
          <c:w val="0.92791329469233008"/>
          <c:h val="0.83362843743569182"/>
        </c:manualLayout>
      </c:layout>
      <c:barChart>
        <c:barDir val="col"/>
        <c:grouping val="clustered"/>
        <c:varyColors val="0"/>
        <c:ser>
          <c:idx val="0"/>
          <c:order val="0"/>
          <c:tx>
            <c:strRef>
              <c:f>Sheet1!$B$1</c:f>
              <c:strCache>
                <c:ptCount val="1"/>
                <c:pt idx="0">
                  <c:v>Series 1</c:v>
                </c:pt>
              </c:strCache>
            </c:strRef>
          </c:tx>
          <c:spPr>
            <a:solidFill>
              <a:schemeClr val="bg1">
                <a:lumMod val="75000"/>
              </a:schemeClr>
            </a:solidFill>
            <a:ln>
              <a:solidFill>
                <a:schemeClr val="bg1">
                  <a:lumMod val="75000"/>
                </a:schemeClr>
              </a:solidFill>
            </a:ln>
            <a:effectLst/>
          </c:spPr>
          <c:invertIfNegative val="0"/>
          <c:dPt>
            <c:idx val="16"/>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1-8959-4DE6-A2F7-66F934D95250}"/>
              </c:ext>
            </c:extLst>
          </c:dPt>
          <c:dPt>
            <c:idx val="17"/>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2-8959-4DE6-A2F7-66F934D95250}"/>
              </c:ext>
            </c:extLst>
          </c:dPt>
          <c:dPt>
            <c:idx val="18"/>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3-8959-4DE6-A2F7-66F934D95250}"/>
              </c:ext>
            </c:extLst>
          </c:dPt>
          <c:dPt>
            <c:idx val="19"/>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4-8959-4DE6-A2F7-66F934D95250}"/>
              </c:ext>
            </c:extLst>
          </c:dPt>
          <c:dPt>
            <c:idx val="20"/>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5-8959-4DE6-A2F7-66F934D95250}"/>
              </c:ext>
            </c:extLst>
          </c:dPt>
          <c:dPt>
            <c:idx val="21"/>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6-8959-4DE6-A2F7-66F934D95250}"/>
              </c:ext>
            </c:extLst>
          </c:dPt>
          <c:dPt>
            <c:idx val="22"/>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D-E9A4-40CD-9FAF-70D6AA008C71}"/>
              </c:ext>
            </c:extLst>
          </c:dPt>
          <c:dPt>
            <c:idx val="23"/>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F-B937-4D10-933A-B335B50F7334}"/>
              </c:ext>
            </c:extLst>
          </c:dPt>
          <c:dPt>
            <c:idx val="24"/>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10-B937-4D10-933A-B335B50F7334}"/>
              </c:ext>
            </c:extLst>
          </c:dPt>
          <c:dPt>
            <c:idx val="25"/>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13-BAC6-4D28-83A1-A20F7AFF77E4}"/>
              </c:ext>
            </c:extLst>
          </c:dPt>
          <c:dPt>
            <c:idx val="26"/>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15-286E-4262-B671-C9FF30521D21}"/>
              </c:ext>
            </c:extLst>
          </c:dPt>
          <c:dPt>
            <c:idx val="27"/>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17-32D9-4972-9C4C-A9A413BA6957}"/>
              </c:ext>
            </c:extLst>
          </c:dPt>
          <c:dPt>
            <c:idx val="28"/>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19-27BD-4329-AD90-8967224359A4}"/>
              </c:ext>
            </c:extLst>
          </c:dPt>
          <c:cat>
            <c:numRef>
              <c:f>Sheet1!$A$2:$A$24</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f>Sheet1!$B$2:$B$24</c:f>
              <c:numCache>
                <c:formatCode>#,##0</c:formatCode>
                <c:ptCount val="23"/>
                <c:pt idx="0">
                  <c:v>1029623</c:v>
                </c:pt>
                <c:pt idx="1">
                  <c:v>1045856</c:v>
                </c:pt>
                <c:pt idx="2">
                  <c:v>1063581</c:v>
                </c:pt>
                <c:pt idx="3">
                  <c:v>1061947</c:v>
                </c:pt>
                <c:pt idx="4">
                  <c:v>1067065</c:v>
                </c:pt>
                <c:pt idx="5">
                  <c:v>1063315</c:v>
                </c:pt>
                <c:pt idx="6">
                  <c:v>1122199</c:v>
                </c:pt>
                <c:pt idx="7">
                  <c:v>1153216</c:v>
                </c:pt>
                <c:pt idx="8">
                  <c:v>1036539</c:v>
                </c:pt>
                <c:pt idx="9">
                  <c:v>1026641</c:v>
                </c:pt>
                <c:pt idx="10">
                  <c:v>1164759</c:v>
                </c:pt>
                <c:pt idx="11">
                  <c:v>1148101</c:v>
                </c:pt>
                <c:pt idx="12">
                  <c:v>1169237</c:v>
                </c:pt>
                <c:pt idx="13">
                  <c:v>1150665</c:v>
                </c:pt>
                <c:pt idx="14">
                  <c:v>1220568</c:v>
                </c:pt>
                <c:pt idx="15">
                  <c:v>1217811</c:v>
                </c:pt>
                <c:pt idx="16">
                  <c:v>1222312</c:v>
                </c:pt>
                <c:pt idx="17">
                  <c:v>1278898</c:v>
                </c:pt>
                <c:pt idx="18">
                  <c:v>1287600</c:v>
                </c:pt>
                <c:pt idx="19">
                  <c:v>1347438</c:v>
                </c:pt>
                <c:pt idx="20">
                  <c:v>968804</c:v>
                </c:pt>
                <c:pt idx="21">
                  <c:v>1378576</c:v>
                </c:pt>
                <c:pt idx="22">
                  <c:v>1349382</c:v>
                </c:pt>
              </c:numCache>
            </c:numRef>
          </c:val>
          <c:extLst>
            <c:ext xmlns:c16="http://schemas.microsoft.com/office/drawing/2014/chart" uri="{C3380CC4-5D6E-409C-BE32-E72D297353CC}">
              <c16:uniqueId val="{00000000-B06A-4228-9D43-365C0BBA8652}"/>
            </c:ext>
          </c:extLst>
        </c:ser>
        <c:dLbls>
          <c:showLegendKey val="0"/>
          <c:showVal val="0"/>
          <c:showCatName val="0"/>
          <c:showSerName val="0"/>
          <c:showPercent val="0"/>
          <c:showBubbleSize val="0"/>
        </c:dLbls>
        <c:gapWidth val="60"/>
        <c:overlap val="100"/>
        <c:axId val="1747841856"/>
        <c:axId val="777482128"/>
      </c:barChart>
      <c:dateAx>
        <c:axId val="1747841856"/>
        <c:scaling>
          <c:orientation val="minMax"/>
        </c:scaling>
        <c:delete val="0"/>
        <c:axPos val="b"/>
        <c:numFmt formatCode="General" sourceLinked="0"/>
        <c:majorTickMark val="out"/>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1400" b="1" i="0" u="none" strike="noStrike" kern="1200" baseline="0">
                <a:solidFill>
                  <a:schemeClr val="tx1"/>
                </a:solidFill>
                <a:latin typeface="+mn-lt"/>
                <a:ea typeface="+mn-ea"/>
                <a:cs typeface="+mn-cs"/>
              </a:defRPr>
            </a:pPr>
            <a:endParaRPr lang="en-US"/>
          </a:p>
        </c:txPr>
        <c:crossAx val="777482128"/>
        <c:crosses val="autoZero"/>
        <c:auto val="0"/>
        <c:lblOffset val="100"/>
        <c:baseTimeUnit val="days"/>
      </c:dateAx>
      <c:valAx>
        <c:axId val="777482128"/>
        <c:scaling>
          <c:orientation val="minMax"/>
          <c:min val="500000"/>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1747841856"/>
        <c:crosses val="autoZero"/>
        <c:crossBetween val="between"/>
        <c:dispUnits>
          <c:builtInUnit val="millions"/>
          <c:dispUnitsLbl>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600">
                <a:solidFill>
                  <a:srgbClr val="3F3F3F"/>
                </a:solidFill>
              </a:defRPr>
            </a:pPr>
            <a:r>
              <a:rPr lang="en-US" sz="1600" dirty="0">
                <a:solidFill>
                  <a:srgbClr val="3F3F3F"/>
                </a:solidFill>
                <a:latin typeface="Calibri" panose="020F0502020204030204" pitchFamily="34" charset="0"/>
                <a:cs typeface="Calibri" panose="020F0502020204030204" pitchFamily="34" charset="0"/>
              </a:rPr>
              <a:t>Total</a:t>
            </a:r>
            <a:r>
              <a:rPr lang="en-US" sz="1600" baseline="0" dirty="0">
                <a:solidFill>
                  <a:srgbClr val="3F3F3F"/>
                </a:solidFill>
                <a:latin typeface="Calibri" panose="020F0502020204030204" pitchFamily="34" charset="0"/>
                <a:cs typeface="Calibri" panose="020F0502020204030204" pitchFamily="34" charset="0"/>
              </a:rPr>
              <a:t> Market</a:t>
            </a:r>
            <a:endParaRPr lang="en-US" sz="1400" dirty="0">
              <a:solidFill>
                <a:srgbClr val="3F3F3F"/>
              </a:solidFill>
              <a:latin typeface="Calibri" panose="020F0502020204030204" pitchFamily="34" charset="0"/>
              <a:cs typeface="Calibri" panose="020F0502020204030204" pitchFamily="34" charset="0"/>
            </a:endParaRPr>
          </a:p>
        </c:rich>
      </c:tx>
      <c:overlay val="0"/>
    </c:title>
    <c:autoTitleDeleted val="0"/>
    <c:plotArea>
      <c:layout>
        <c:manualLayout>
          <c:layoutTarget val="inner"/>
          <c:xMode val="edge"/>
          <c:yMode val="edge"/>
          <c:x val="1.5901700400581704E-2"/>
          <c:y val="0.15712157157579479"/>
          <c:w val="0.96819660281893749"/>
          <c:h val="0.74790194310360802"/>
        </c:manualLayout>
      </c:layout>
      <c:barChart>
        <c:barDir val="col"/>
        <c:grouping val="clustered"/>
        <c:varyColors val="0"/>
        <c:ser>
          <c:idx val="0"/>
          <c:order val="0"/>
          <c:tx>
            <c:strRef>
              <c:f>Sheet1!$C$2</c:f>
              <c:strCache>
                <c:ptCount val="1"/>
                <c:pt idx="0">
                  <c:v>Actual</c:v>
                </c:pt>
              </c:strCache>
            </c:strRef>
          </c:tx>
          <c:spPr>
            <a:solidFill>
              <a:srgbClr val="00A88C"/>
            </a:solidFill>
            <a:ln>
              <a:solidFill>
                <a:srgbClr val="00A88C"/>
              </a:solidFill>
            </a:ln>
          </c:spPr>
          <c:invertIfNegative val="0"/>
          <c:dLbls>
            <c:numFmt formatCode="0%" sourceLinked="0"/>
            <c:spPr>
              <a:noFill/>
              <a:ln>
                <a:noFill/>
              </a:ln>
              <a:effectLst/>
            </c:spPr>
            <c:txPr>
              <a:bodyPr/>
              <a:lstStyle/>
              <a:p>
                <a:pPr>
                  <a:defRPr sz="1200" b="1">
                    <a:solidFill>
                      <a:srgbClr val="3F3F3F"/>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3:$B$6</c:f>
              <c:numCache>
                <c:formatCode>General</c:formatCode>
                <c:ptCount val="4"/>
                <c:pt idx="0">
                  <c:v>2019</c:v>
                </c:pt>
                <c:pt idx="1">
                  <c:v>2020</c:v>
                </c:pt>
                <c:pt idx="2">
                  <c:v>2021</c:v>
                </c:pt>
                <c:pt idx="3">
                  <c:v>2022</c:v>
                </c:pt>
              </c:numCache>
            </c:numRef>
          </c:cat>
          <c:val>
            <c:numRef>
              <c:f>Sheet1!$C$3:$C$6</c:f>
              <c:numCache>
                <c:formatCode>0%</c:formatCode>
                <c:ptCount val="4"/>
                <c:pt idx="0">
                  <c:v>0.67674593813913175</c:v>
                </c:pt>
                <c:pt idx="1">
                  <c:v>0.48388003072834002</c:v>
                </c:pt>
                <c:pt idx="2">
                  <c:v>0.61746272689204063</c:v>
                </c:pt>
                <c:pt idx="3">
                  <c:v>0.64560215423853085</c:v>
                </c:pt>
              </c:numCache>
            </c:numRef>
          </c:val>
          <c:extLst>
            <c:ext xmlns:c16="http://schemas.microsoft.com/office/drawing/2014/chart" uri="{C3380CC4-5D6E-409C-BE32-E72D297353CC}">
              <c16:uniqueId val="{00000000-34C2-46FC-AE63-BABD1097AB08}"/>
            </c:ext>
          </c:extLst>
        </c:ser>
        <c:ser>
          <c:idx val="1"/>
          <c:order val="1"/>
          <c:tx>
            <c:strRef>
              <c:f>Sheet1!$D$2</c:f>
              <c:strCache>
                <c:ptCount val="1"/>
                <c:pt idx="0">
                  <c:v>Forecast</c:v>
                </c:pt>
              </c:strCache>
            </c:strRef>
          </c:tx>
          <c:spPr>
            <a:pattFill prst="dkHorz">
              <a:fgClr>
                <a:srgbClr val="1F8776"/>
              </a:fgClr>
              <a:bgClr>
                <a:srgbClr val="FFFFFF"/>
              </a:bgClr>
            </a:pattFill>
            <a:ln>
              <a:solidFill>
                <a:srgbClr val="00A88C"/>
              </a:solidFill>
            </a:ln>
          </c:spPr>
          <c:invertIfNegative val="0"/>
          <c:cat>
            <c:numRef>
              <c:f>Sheet1!$B$3:$B$6</c:f>
              <c:numCache>
                <c:formatCode>General</c:formatCode>
                <c:ptCount val="4"/>
                <c:pt idx="0">
                  <c:v>2019</c:v>
                </c:pt>
                <c:pt idx="1">
                  <c:v>2020</c:v>
                </c:pt>
                <c:pt idx="2">
                  <c:v>2021</c:v>
                </c:pt>
                <c:pt idx="3">
                  <c:v>2022</c:v>
                </c:pt>
              </c:numCache>
            </c:numRef>
          </c:cat>
          <c:val>
            <c:numRef>
              <c:f>Sheet1!$D$3:$D$6</c:f>
              <c:numCache>
                <c:formatCode>#,##0</c:formatCode>
                <c:ptCount val="4"/>
                <c:pt idx="1">
                  <c:v>0</c:v>
                </c:pt>
              </c:numCache>
            </c:numRef>
          </c:val>
          <c:extLst>
            <c:ext xmlns:c16="http://schemas.microsoft.com/office/drawing/2014/chart" uri="{C3380CC4-5D6E-409C-BE32-E72D297353CC}">
              <c16:uniqueId val="{00000000-AF57-4962-8E91-529D1AE7B67D}"/>
            </c:ext>
          </c:extLst>
        </c:ser>
        <c:dLbls>
          <c:showLegendKey val="0"/>
          <c:showVal val="0"/>
          <c:showCatName val="0"/>
          <c:showSerName val="0"/>
          <c:showPercent val="0"/>
          <c:showBubbleSize val="0"/>
        </c:dLbls>
        <c:gapWidth val="60"/>
        <c:overlap val="100"/>
        <c:axId val="367692464"/>
        <c:axId val="367693024"/>
      </c:barChart>
      <c:catAx>
        <c:axId val="367692464"/>
        <c:scaling>
          <c:orientation val="minMax"/>
        </c:scaling>
        <c:delete val="0"/>
        <c:axPos val="b"/>
        <c:numFmt formatCode="General" sourceLinked="1"/>
        <c:majorTickMark val="out"/>
        <c:minorTickMark val="none"/>
        <c:tickLblPos val="nextTo"/>
        <c:spPr>
          <a:ln>
            <a:solidFill>
              <a:srgbClr val="150603"/>
            </a:solidFill>
          </a:ln>
        </c:spPr>
        <c:txPr>
          <a:bodyPr/>
          <a:lstStyle/>
          <a:p>
            <a:pPr>
              <a:defRPr sz="1400" b="1">
                <a:solidFill>
                  <a:srgbClr val="3F3F3F"/>
                </a:solidFill>
              </a:defRPr>
            </a:pPr>
            <a:endParaRPr lang="en-US"/>
          </a:p>
        </c:txPr>
        <c:crossAx val="367693024"/>
        <c:crosses val="autoZero"/>
        <c:auto val="0"/>
        <c:lblAlgn val="ctr"/>
        <c:lblOffset val="100"/>
        <c:noMultiLvlLbl val="0"/>
      </c:catAx>
      <c:valAx>
        <c:axId val="367693024"/>
        <c:scaling>
          <c:orientation val="minMax"/>
        </c:scaling>
        <c:delete val="1"/>
        <c:axPos val="l"/>
        <c:numFmt formatCode="#,##0.0" sourceLinked="0"/>
        <c:majorTickMark val="out"/>
        <c:minorTickMark val="none"/>
        <c:tickLblPos val="nextTo"/>
        <c:crossAx val="367692464"/>
        <c:crosses val="autoZero"/>
        <c:crossBetween val="between"/>
      </c:valAx>
    </c:plotArea>
    <c:plotVisOnly val="1"/>
    <c:dispBlanksAs val="gap"/>
    <c:showDLblsOverMax val="0"/>
  </c:chart>
  <c:spPr>
    <a:ln>
      <a:solidFill>
        <a:srgbClr val="1F8776"/>
      </a:solidFill>
    </a:ln>
  </c:spPr>
  <c:txPr>
    <a:bodyPr/>
    <a:lstStyle/>
    <a:p>
      <a:pPr>
        <a:defRPr sz="16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a:solidFill>
                  <a:schemeClr val="tx1"/>
                </a:solidFill>
                <a:latin typeface="+mn-lt"/>
              </a:defRPr>
            </a:pPr>
            <a:r>
              <a:rPr lang="en-US" sz="1600" baseline="0" dirty="0">
                <a:solidFill>
                  <a:schemeClr val="tx1"/>
                </a:solidFill>
                <a:latin typeface="+mn-lt"/>
              </a:rPr>
              <a:t>Sub-markets</a:t>
            </a:r>
          </a:p>
        </c:rich>
      </c:tx>
      <c:overlay val="0"/>
    </c:title>
    <c:autoTitleDeleted val="0"/>
    <c:plotArea>
      <c:layout>
        <c:manualLayout>
          <c:layoutTarget val="inner"/>
          <c:xMode val="edge"/>
          <c:yMode val="edge"/>
          <c:x val="6.7047649710238244E-2"/>
          <c:y val="0.15850389265673875"/>
          <c:w val="0.9198065921196259"/>
          <c:h val="0.7375656249335012"/>
        </c:manualLayout>
      </c:layout>
      <c:barChart>
        <c:barDir val="col"/>
        <c:grouping val="clustered"/>
        <c:varyColors val="0"/>
        <c:ser>
          <c:idx val="1"/>
          <c:order val="1"/>
          <c:tx>
            <c:strRef>
              <c:f>Sheet1!$C$1</c:f>
              <c:strCache>
                <c:ptCount val="1"/>
                <c:pt idx="0">
                  <c:v>2019</c:v>
                </c:pt>
              </c:strCache>
            </c:strRef>
          </c:tx>
          <c:spPr>
            <a:solidFill>
              <a:schemeClr val="bg1">
                <a:lumMod val="75000"/>
              </a:schemeClr>
            </a:solidFill>
            <a:ln>
              <a:solidFill>
                <a:schemeClr val="bg1">
                  <a:lumMod val="75000"/>
                </a:schemeClr>
              </a:solidFill>
            </a:ln>
          </c:spPr>
          <c:invertIfNegative val="0"/>
          <c:val>
            <c:numRef>
              <c:f>Sheet1!$C$2:$C$6</c:f>
              <c:numCache>
                <c:formatCode>0.0%</c:formatCode>
                <c:ptCount val="5"/>
                <c:pt idx="0">
                  <c:v>0.70660000000000001</c:v>
                </c:pt>
                <c:pt idx="1">
                  <c:v>0.67398710729417932</c:v>
                </c:pt>
                <c:pt idx="2">
                  <c:v>0.67993683490824897</c:v>
                </c:pt>
                <c:pt idx="3">
                  <c:v>0.69263592117758788</c:v>
                </c:pt>
                <c:pt idx="4">
                  <c:v>0.59697435474220639</c:v>
                </c:pt>
              </c:numCache>
            </c:numRef>
          </c:val>
          <c:extLst>
            <c:ext xmlns:c16="http://schemas.microsoft.com/office/drawing/2014/chart" uri="{C3380CC4-5D6E-409C-BE32-E72D297353CC}">
              <c16:uniqueId val="{00000000-7393-41F3-9D3E-C8E4AA4B3B26}"/>
            </c:ext>
          </c:extLst>
        </c:ser>
        <c:ser>
          <c:idx val="0"/>
          <c:order val="2"/>
          <c:tx>
            <c:strRef>
              <c:f>Sheet1!$B$1</c:f>
              <c:strCache>
                <c:ptCount val="1"/>
                <c:pt idx="0">
                  <c:v>2022</c:v>
                </c:pt>
              </c:strCache>
            </c:strRef>
          </c:tx>
          <c:spPr>
            <a:solidFill>
              <a:schemeClr val="accent1"/>
            </a:solidFill>
            <a:ln w="9525">
              <a:solidFill>
                <a:schemeClr val="accent1"/>
              </a:solidFill>
            </a:ln>
          </c:spPr>
          <c:invertIfNegative val="0"/>
          <c:dPt>
            <c:idx val="17"/>
            <c:invertIfNegative val="0"/>
            <c:bubble3D val="0"/>
            <c:extLst>
              <c:ext xmlns:c16="http://schemas.microsoft.com/office/drawing/2014/chart" uri="{C3380CC4-5D6E-409C-BE32-E72D297353CC}">
                <c16:uniqueId val="{00000001-7393-41F3-9D3E-C8E4AA4B3B26}"/>
              </c:ext>
            </c:extLst>
          </c:dPt>
          <c:cat>
            <c:strRef>
              <c:f>Sheet1!$A$2:$A$6</c:f>
              <c:strCache>
                <c:ptCount val="5"/>
                <c:pt idx="0">
                  <c:v>DWTN Core</c:v>
                </c:pt>
                <c:pt idx="1">
                  <c:v>Downtown</c:v>
                </c:pt>
                <c:pt idx="2">
                  <c:v>East</c:v>
                </c:pt>
                <c:pt idx="3">
                  <c:v>Airport/South</c:v>
                </c:pt>
                <c:pt idx="4">
                  <c:v>West</c:v>
                </c:pt>
              </c:strCache>
            </c:strRef>
          </c:cat>
          <c:val>
            <c:numRef>
              <c:f>Sheet1!$B$2:$B$6</c:f>
              <c:numCache>
                <c:formatCode>0.0%</c:formatCode>
                <c:ptCount val="5"/>
                <c:pt idx="0">
                  <c:v>0.57540000000000002</c:v>
                </c:pt>
                <c:pt idx="1">
                  <c:v>0.57982519462030913</c:v>
                </c:pt>
                <c:pt idx="2">
                  <c:v>0.64575579548689355</c:v>
                </c:pt>
                <c:pt idx="3">
                  <c:v>0.66940667646688412</c:v>
                </c:pt>
                <c:pt idx="4">
                  <c:v>0.71973625892584969</c:v>
                </c:pt>
              </c:numCache>
              <c:extLst/>
            </c:numRef>
          </c:val>
          <c:extLst>
            <c:ext xmlns:c16="http://schemas.microsoft.com/office/drawing/2014/chart" uri="{C3380CC4-5D6E-409C-BE32-E72D297353CC}">
              <c16:uniqueId val="{00000002-7393-41F3-9D3E-C8E4AA4B3B26}"/>
            </c:ext>
          </c:extLst>
        </c:ser>
        <c:dLbls>
          <c:showLegendKey val="0"/>
          <c:showVal val="0"/>
          <c:showCatName val="0"/>
          <c:showSerName val="0"/>
          <c:showPercent val="0"/>
          <c:showBubbleSize val="0"/>
        </c:dLbls>
        <c:gapWidth val="60"/>
        <c:overlap val="50"/>
        <c:axId val="382568736"/>
        <c:axId val="382569520"/>
      </c:barChart>
      <c:lineChart>
        <c:grouping val="standard"/>
        <c:varyColors val="0"/>
        <c:dLbls>
          <c:showLegendKey val="0"/>
          <c:showVal val="0"/>
          <c:showCatName val="0"/>
          <c:showSerName val="0"/>
          <c:showPercent val="0"/>
          <c:showBubbleSize val="0"/>
        </c:dLbls>
        <c:marker val="1"/>
        <c:smooth val="0"/>
        <c:axId val="382568736"/>
        <c:axId val="382569520"/>
        <c:extLst>
          <c:ext xmlns:c15="http://schemas.microsoft.com/office/drawing/2012/chart" uri="{02D57815-91ED-43cb-92C2-25804820EDAC}">
            <c15:filteredLineSeries>
              <c15:ser>
                <c:idx val="2"/>
                <c:order val="0"/>
                <c:tx>
                  <c:strRef>
                    <c:extLst>
                      <c:ext uri="{02D57815-91ED-43cb-92C2-25804820EDAC}">
                        <c15:formulaRef>
                          <c15:sqref>Sheet1!$D$1</c15:sqref>
                        </c15:formulaRef>
                      </c:ext>
                    </c:extLst>
                    <c:strCache>
                      <c:ptCount val="1"/>
                      <c:pt idx="0">
                        <c:v>Line</c:v>
                      </c:pt>
                    </c:strCache>
                  </c:strRef>
                </c:tx>
                <c:spPr>
                  <a:ln w="38100">
                    <a:solidFill>
                      <a:srgbClr val="FFC000"/>
                    </a:solidFill>
                  </a:ln>
                </c:spPr>
                <c:marker>
                  <c:symbol val="none"/>
                </c:marker>
                <c:val>
                  <c:numRef>
                    <c:extLst>
                      <c:ext uri="{02D57815-91ED-43cb-92C2-25804820EDAC}">
                        <c15:formulaRef>
                          <c15:sqref>Sheet1!$D$2:$D$6</c15:sqref>
                        </c15:formulaRef>
                      </c:ext>
                    </c:extLst>
                    <c:numCache>
                      <c:formatCode>General</c:formatCode>
                      <c:ptCount val="5"/>
                      <c:pt idx="0">
                        <c:v>100</c:v>
                      </c:pt>
                      <c:pt idx="1">
                        <c:v>100</c:v>
                      </c:pt>
                      <c:pt idx="2">
                        <c:v>100</c:v>
                      </c:pt>
                      <c:pt idx="3">
                        <c:v>100</c:v>
                      </c:pt>
                      <c:pt idx="4">
                        <c:v>100</c:v>
                      </c:pt>
                    </c:numCache>
                  </c:numRef>
                </c:val>
                <c:smooth val="0"/>
                <c:extLst>
                  <c:ext xmlns:c16="http://schemas.microsoft.com/office/drawing/2014/chart" uri="{C3380CC4-5D6E-409C-BE32-E72D297353CC}">
                    <c16:uniqueId val="{00000003-7393-41F3-9D3E-C8E4AA4B3B26}"/>
                  </c:ext>
                </c:extLst>
              </c15:ser>
            </c15:filteredLineSeries>
          </c:ext>
        </c:extLst>
      </c:lineChart>
      <c:catAx>
        <c:axId val="382568736"/>
        <c:scaling>
          <c:orientation val="minMax"/>
        </c:scaling>
        <c:delete val="0"/>
        <c:axPos val="b"/>
        <c:numFmt formatCode="[$-409]mmm\-yy;@" sourceLinked="0"/>
        <c:majorTickMark val="none"/>
        <c:minorTickMark val="none"/>
        <c:tickLblPos val="low"/>
        <c:spPr>
          <a:ln w="3368">
            <a:solidFill>
              <a:schemeClr val="tx1"/>
            </a:solidFill>
            <a:prstDash val="solid"/>
          </a:ln>
        </c:spPr>
        <c:txPr>
          <a:bodyPr rot="0" vert="horz"/>
          <a:lstStyle/>
          <a:p>
            <a:pPr>
              <a:defRPr sz="1400" b="1" i="0" u="none" strike="noStrike" baseline="0">
                <a:solidFill>
                  <a:schemeClr val="tx1"/>
                </a:solidFill>
                <a:latin typeface="+mj-lt"/>
                <a:ea typeface="Arial"/>
                <a:cs typeface="Arial"/>
              </a:defRPr>
            </a:pPr>
            <a:endParaRPr lang="en-US"/>
          </a:p>
        </c:txPr>
        <c:crossAx val="382569520"/>
        <c:crosses val="autoZero"/>
        <c:auto val="0"/>
        <c:lblAlgn val="ctr"/>
        <c:lblOffset val="100"/>
        <c:noMultiLvlLbl val="0"/>
      </c:catAx>
      <c:valAx>
        <c:axId val="382569520"/>
        <c:scaling>
          <c:orientation val="minMax"/>
        </c:scaling>
        <c:delete val="0"/>
        <c:axPos val="l"/>
        <c:majorGridlines>
          <c:spPr>
            <a:ln>
              <a:solidFill>
                <a:schemeClr val="bg1">
                  <a:lumMod val="75000"/>
                </a:schemeClr>
              </a:solidFill>
            </a:ln>
          </c:spPr>
        </c:majorGridlines>
        <c:numFmt formatCode="0%" sourceLinked="0"/>
        <c:majorTickMark val="out"/>
        <c:minorTickMark val="none"/>
        <c:tickLblPos val="nextTo"/>
        <c:spPr>
          <a:ln w="3368">
            <a:solidFill>
              <a:schemeClr val="tx1"/>
            </a:solidFill>
            <a:prstDash val="solid"/>
          </a:ln>
        </c:spPr>
        <c:txPr>
          <a:bodyPr rot="0" vert="horz"/>
          <a:lstStyle/>
          <a:p>
            <a:pPr>
              <a:defRPr sz="1200" b="1" i="0" u="none" strike="noStrike" baseline="0">
                <a:solidFill>
                  <a:srgbClr val="3F3F3F"/>
                </a:solidFill>
                <a:latin typeface="+mn-lt"/>
                <a:ea typeface="Arial"/>
                <a:cs typeface="Arial"/>
              </a:defRPr>
            </a:pPr>
            <a:endParaRPr lang="en-US"/>
          </a:p>
        </c:txPr>
        <c:crossAx val="382568736"/>
        <c:crosses val="autoZero"/>
        <c:crossBetween val="between"/>
      </c:valAx>
      <c:spPr>
        <a:noFill/>
        <a:ln w="25400">
          <a:noFill/>
        </a:ln>
      </c:spPr>
    </c:plotArea>
    <c:legend>
      <c:legendPos val="t"/>
      <c:overlay val="0"/>
      <c:txPr>
        <a:bodyPr/>
        <a:lstStyle/>
        <a:p>
          <a:pPr>
            <a:defRPr sz="1400">
              <a:latin typeface="+mn-lt"/>
            </a:defRPr>
          </a:pPr>
          <a:endParaRPr lang="en-US"/>
        </a:p>
      </c:txPr>
    </c:legend>
    <c:plotVisOnly val="1"/>
    <c:dispBlanksAs val="gap"/>
    <c:showDLblsOverMax val="0"/>
  </c:chart>
  <c:spPr>
    <a:noFill/>
    <a:ln>
      <a:solidFill>
        <a:schemeClr val="tx2"/>
      </a:solidFill>
    </a:ln>
  </c:spPr>
  <c:txPr>
    <a:bodyPr/>
    <a:lstStyle/>
    <a:p>
      <a:pPr>
        <a:defRPr sz="1909" b="1" i="0" u="none" strike="noStrike" baseline="0">
          <a:solidFill>
            <a:schemeClr val="tx1"/>
          </a:solidFill>
          <a:latin typeface="Times New Roman"/>
          <a:ea typeface="Times New Roman"/>
          <a:cs typeface="Times New Roman"/>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600">
                <a:solidFill>
                  <a:srgbClr val="3F3F3F"/>
                </a:solidFill>
              </a:defRPr>
            </a:pPr>
            <a:r>
              <a:rPr lang="en-US" sz="1600" dirty="0">
                <a:solidFill>
                  <a:srgbClr val="3F3F3F"/>
                </a:solidFill>
                <a:latin typeface="Calibri" panose="020F0502020204030204" pitchFamily="34" charset="0"/>
                <a:cs typeface="Calibri" panose="020F0502020204030204" pitchFamily="34" charset="0"/>
              </a:rPr>
              <a:t>Total Market</a:t>
            </a:r>
            <a:endParaRPr lang="en-US" sz="1400" dirty="0">
              <a:solidFill>
                <a:srgbClr val="3F3F3F"/>
              </a:solidFill>
              <a:latin typeface="Calibri" panose="020F0502020204030204" pitchFamily="34" charset="0"/>
              <a:cs typeface="Calibri" panose="020F0502020204030204" pitchFamily="34" charset="0"/>
            </a:endParaRPr>
          </a:p>
        </c:rich>
      </c:tx>
      <c:overlay val="0"/>
    </c:title>
    <c:autoTitleDeleted val="0"/>
    <c:plotArea>
      <c:layout>
        <c:manualLayout>
          <c:layoutTarget val="inner"/>
          <c:xMode val="edge"/>
          <c:yMode val="edge"/>
          <c:x val="1.5901700400581704E-2"/>
          <c:y val="0.15712157157579479"/>
          <c:w val="0.96819660281893749"/>
          <c:h val="0.74790194310360802"/>
        </c:manualLayout>
      </c:layout>
      <c:barChart>
        <c:barDir val="col"/>
        <c:grouping val="clustered"/>
        <c:varyColors val="0"/>
        <c:ser>
          <c:idx val="0"/>
          <c:order val="0"/>
          <c:tx>
            <c:strRef>
              <c:f>Sheet1!$C$2</c:f>
              <c:strCache>
                <c:ptCount val="1"/>
                <c:pt idx="0">
                  <c:v>Actual</c:v>
                </c:pt>
              </c:strCache>
            </c:strRef>
          </c:tx>
          <c:spPr>
            <a:solidFill>
              <a:srgbClr val="0863B5"/>
            </a:solidFill>
            <a:ln>
              <a:solidFill>
                <a:srgbClr val="0863B5"/>
              </a:solidFill>
            </a:ln>
          </c:spPr>
          <c:invertIfNegative val="0"/>
          <c:dLbls>
            <c:numFmt formatCode="&quot;$&quot;#,##0" sourceLinked="0"/>
            <c:spPr>
              <a:noFill/>
              <a:ln>
                <a:noFill/>
              </a:ln>
              <a:effectLst/>
            </c:spPr>
            <c:txPr>
              <a:bodyPr/>
              <a:lstStyle/>
              <a:p>
                <a:pPr>
                  <a:defRPr sz="1200" b="1">
                    <a:solidFill>
                      <a:srgbClr val="3F3F3F"/>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3:$B$6</c:f>
              <c:numCache>
                <c:formatCode>General</c:formatCode>
                <c:ptCount val="4"/>
                <c:pt idx="0">
                  <c:v>2019</c:v>
                </c:pt>
                <c:pt idx="1">
                  <c:v>2020</c:v>
                </c:pt>
                <c:pt idx="2">
                  <c:v>2021</c:v>
                </c:pt>
                <c:pt idx="3">
                  <c:v>2022</c:v>
                </c:pt>
              </c:numCache>
            </c:numRef>
          </c:cat>
          <c:val>
            <c:numRef>
              <c:f>Sheet1!$C$3:$C$6</c:f>
              <c:numCache>
                <c:formatCode>"$"#,##0.00_);[Red]\("$"#,##0.00\)</c:formatCode>
                <c:ptCount val="4"/>
                <c:pt idx="0">
                  <c:v>97.315148217745474</c:v>
                </c:pt>
                <c:pt idx="1">
                  <c:v>79.818950155654633</c:v>
                </c:pt>
                <c:pt idx="2">
                  <c:v>92.247112765842829</c:v>
                </c:pt>
                <c:pt idx="3">
                  <c:v>110.56951311810913</c:v>
                </c:pt>
              </c:numCache>
            </c:numRef>
          </c:val>
          <c:extLst>
            <c:ext xmlns:c16="http://schemas.microsoft.com/office/drawing/2014/chart" uri="{C3380CC4-5D6E-409C-BE32-E72D297353CC}">
              <c16:uniqueId val="{00000000-34C2-46FC-AE63-BABD1097AB08}"/>
            </c:ext>
          </c:extLst>
        </c:ser>
        <c:ser>
          <c:idx val="1"/>
          <c:order val="1"/>
          <c:tx>
            <c:strRef>
              <c:f>Sheet1!$D$2</c:f>
              <c:strCache>
                <c:ptCount val="1"/>
                <c:pt idx="0">
                  <c:v>Forecast</c:v>
                </c:pt>
              </c:strCache>
            </c:strRef>
          </c:tx>
          <c:spPr>
            <a:pattFill prst="dkHorz">
              <a:fgClr>
                <a:srgbClr val="1F8776"/>
              </a:fgClr>
              <a:bgClr>
                <a:srgbClr val="FFFFFF"/>
              </a:bgClr>
            </a:pattFill>
            <a:ln>
              <a:solidFill>
                <a:srgbClr val="00A88C"/>
              </a:solidFill>
            </a:ln>
          </c:spPr>
          <c:invertIfNegative val="0"/>
          <c:cat>
            <c:numRef>
              <c:f>Sheet1!$B$3:$B$6</c:f>
              <c:numCache>
                <c:formatCode>General</c:formatCode>
                <c:ptCount val="4"/>
                <c:pt idx="0">
                  <c:v>2019</c:v>
                </c:pt>
                <c:pt idx="1">
                  <c:v>2020</c:v>
                </c:pt>
                <c:pt idx="2">
                  <c:v>2021</c:v>
                </c:pt>
                <c:pt idx="3">
                  <c:v>2022</c:v>
                </c:pt>
              </c:numCache>
            </c:numRef>
          </c:cat>
          <c:val>
            <c:numRef>
              <c:f>Sheet1!$D$3:$D$6</c:f>
              <c:numCache>
                <c:formatCode>#,##0</c:formatCode>
                <c:ptCount val="4"/>
                <c:pt idx="1">
                  <c:v>0</c:v>
                </c:pt>
              </c:numCache>
            </c:numRef>
          </c:val>
          <c:extLst>
            <c:ext xmlns:c16="http://schemas.microsoft.com/office/drawing/2014/chart" uri="{C3380CC4-5D6E-409C-BE32-E72D297353CC}">
              <c16:uniqueId val="{00000000-AF57-4962-8E91-529D1AE7B67D}"/>
            </c:ext>
          </c:extLst>
        </c:ser>
        <c:dLbls>
          <c:showLegendKey val="0"/>
          <c:showVal val="0"/>
          <c:showCatName val="0"/>
          <c:showSerName val="0"/>
          <c:showPercent val="0"/>
          <c:showBubbleSize val="0"/>
        </c:dLbls>
        <c:gapWidth val="60"/>
        <c:overlap val="100"/>
        <c:axId val="367692464"/>
        <c:axId val="367693024"/>
      </c:barChart>
      <c:catAx>
        <c:axId val="367692464"/>
        <c:scaling>
          <c:orientation val="minMax"/>
        </c:scaling>
        <c:delete val="0"/>
        <c:axPos val="b"/>
        <c:numFmt formatCode="General" sourceLinked="1"/>
        <c:majorTickMark val="out"/>
        <c:minorTickMark val="none"/>
        <c:tickLblPos val="nextTo"/>
        <c:spPr>
          <a:ln>
            <a:solidFill>
              <a:srgbClr val="150603"/>
            </a:solidFill>
          </a:ln>
        </c:spPr>
        <c:txPr>
          <a:bodyPr/>
          <a:lstStyle/>
          <a:p>
            <a:pPr>
              <a:defRPr sz="1400" b="1">
                <a:solidFill>
                  <a:srgbClr val="3F3F3F"/>
                </a:solidFill>
              </a:defRPr>
            </a:pPr>
            <a:endParaRPr lang="en-US"/>
          </a:p>
        </c:txPr>
        <c:crossAx val="367693024"/>
        <c:crosses val="autoZero"/>
        <c:auto val="0"/>
        <c:lblAlgn val="ctr"/>
        <c:lblOffset val="100"/>
        <c:noMultiLvlLbl val="0"/>
      </c:catAx>
      <c:valAx>
        <c:axId val="367693024"/>
        <c:scaling>
          <c:orientation val="minMax"/>
        </c:scaling>
        <c:delete val="1"/>
        <c:axPos val="l"/>
        <c:numFmt formatCode="#,##0.0" sourceLinked="0"/>
        <c:majorTickMark val="out"/>
        <c:minorTickMark val="none"/>
        <c:tickLblPos val="nextTo"/>
        <c:crossAx val="367692464"/>
        <c:crosses val="autoZero"/>
        <c:crossBetween val="between"/>
      </c:valAx>
    </c:plotArea>
    <c:plotVisOnly val="1"/>
    <c:dispBlanksAs val="gap"/>
    <c:showDLblsOverMax val="0"/>
  </c:chart>
  <c:spPr>
    <a:ln>
      <a:solidFill>
        <a:srgbClr val="1F8776"/>
      </a:solidFill>
    </a:ln>
  </c:spPr>
  <c:txPr>
    <a:bodyPr/>
    <a:lstStyle/>
    <a:p>
      <a:pPr>
        <a:defRPr sz="16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a:solidFill>
                  <a:schemeClr val="tx1"/>
                </a:solidFill>
                <a:latin typeface="+mn-lt"/>
              </a:defRPr>
            </a:pPr>
            <a:r>
              <a:rPr lang="en-US" sz="1600" baseline="0" dirty="0">
                <a:solidFill>
                  <a:schemeClr val="tx1"/>
                </a:solidFill>
                <a:latin typeface="+mn-lt"/>
              </a:rPr>
              <a:t>Sub-markets</a:t>
            </a:r>
          </a:p>
        </c:rich>
      </c:tx>
      <c:overlay val="0"/>
    </c:title>
    <c:autoTitleDeleted val="0"/>
    <c:plotArea>
      <c:layout>
        <c:manualLayout>
          <c:layoutTarget val="inner"/>
          <c:xMode val="edge"/>
          <c:yMode val="edge"/>
          <c:x val="6.7047649710238244E-2"/>
          <c:y val="0.15850389265673875"/>
          <c:w val="0.9198065921196259"/>
          <c:h val="0.7375656249335012"/>
        </c:manualLayout>
      </c:layout>
      <c:barChart>
        <c:barDir val="col"/>
        <c:grouping val="clustered"/>
        <c:varyColors val="0"/>
        <c:ser>
          <c:idx val="1"/>
          <c:order val="1"/>
          <c:tx>
            <c:strRef>
              <c:f>Sheet1!$C$1</c:f>
              <c:strCache>
                <c:ptCount val="1"/>
                <c:pt idx="0">
                  <c:v>2019</c:v>
                </c:pt>
              </c:strCache>
            </c:strRef>
          </c:tx>
          <c:spPr>
            <a:solidFill>
              <a:schemeClr val="bg1">
                <a:lumMod val="75000"/>
              </a:schemeClr>
            </a:solidFill>
            <a:ln>
              <a:solidFill>
                <a:schemeClr val="bg1">
                  <a:lumMod val="75000"/>
                </a:schemeClr>
              </a:solidFill>
            </a:ln>
          </c:spPr>
          <c:invertIfNegative val="0"/>
          <c:val>
            <c:numRef>
              <c:f>Sheet1!$C$2:$C$6</c:f>
              <c:numCache>
                <c:formatCode>"$"#,##0.00</c:formatCode>
                <c:ptCount val="5"/>
                <c:pt idx="0">
                  <c:v>163.13</c:v>
                </c:pt>
                <c:pt idx="1">
                  <c:v>147.00935767079864</c:v>
                </c:pt>
                <c:pt idx="2">
                  <c:v>89.369019678515755</c:v>
                </c:pt>
                <c:pt idx="3">
                  <c:v>83.926341506470266</c:v>
                </c:pt>
                <c:pt idx="4">
                  <c:v>76.999386550773721</c:v>
                </c:pt>
              </c:numCache>
            </c:numRef>
          </c:val>
          <c:extLst>
            <c:ext xmlns:c16="http://schemas.microsoft.com/office/drawing/2014/chart" uri="{C3380CC4-5D6E-409C-BE32-E72D297353CC}">
              <c16:uniqueId val="{00000000-7393-41F3-9D3E-C8E4AA4B3B26}"/>
            </c:ext>
          </c:extLst>
        </c:ser>
        <c:ser>
          <c:idx val="0"/>
          <c:order val="2"/>
          <c:tx>
            <c:strRef>
              <c:f>Sheet1!$B$1</c:f>
              <c:strCache>
                <c:ptCount val="1"/>
                <c:pt idx="0">
                  <c:v>2022</c:v>
                </c:pt>
              </c:strCache>
            </c:strRef>
          </c:tx>
          <c:spPr>
            <a:solidFill>
              <a:schemeClr val="accent2"/>
            </a:solidFill>
            <a:ln w="9525">
              <a:solidFill>
                <a:schemeClr val="accent2"/>
              </a:solidFill>
            </a:ln>
          </c:spPr>
          <c:invertIfNegative val="0"/>
          <c:dPt>
            <c:idx val="17"/>
            <c:invertIfNegative val="0"/>
            <c:bubble3D val="0"/>
            <c:extLst>
              <c:ext xmlns:c16="http://schemas.microsoft.com/office/drawing/2014/chart" uri="{C3380CC4-5D6E-409C-BE32-E72D297353CC}">
                <c16:uniqueId val="{00000001-7393-41F3-9D3E-C8E4AA4B3B26}"/>
              </c:ext>
            </c:extLst>
          </c:dPt>
          <c:cat>
            <c:strRef>
              <c:f>Sheet1!$A$2:$A$6</c:f>
              <c:strCache>
                <c:ptCount val="5"/>
                <c:pt idx="0">
                  <c:v>DWTN Core</c:v>
                </c:pt>
                <c:pt idx="1">
                  <c:v>Downtown</c:v>
                </c:pt>
                <c:pt idx="2">
                  <c:v>East</c:v>
                </c:pt>
                <c:pt idx="3">
                  <c:v>Airport/South</c:v>
                </c:pt>
                <c:pt idx="4">
                  <c:v>West</c:v>
                </c:pt>
              </c:strCache>
            </c:strRef>
          </c:cat>
          <c:val>
            <c:numRef>
              <c:f>Sheet1!$B$2:$B$6</c:f>
              <c:numCache>
                <c:formatCode>"$"#,##0.00</c:formatCode>
                <c:ptCount val="5"/>
                <c:pt idx="0">
                  <c:v>178.96</c:v>
                </c:pt>
                <c:pt idx="1">
                  <c:v>167.68613720514372</c:v>
                </c:pt>
                <c:pt idx="2">
                  <c:v>97.033134803017603</c:v>
                </c:pt>
                <c:pt idx="3">
                  <c:v>100.34464353358437</c:v>
                </c:pt>
                <c:pt idx="4">
                  <c:v>92.793229993764129</c:v>
                </c:pt>
              </c:numCache>
              <c:extLst/>
            </c:numRef>
          </c:val>
          <c:extLst>
            <c:ext xmlns:c16="http://schemas.microsoft.com/office/drawing/2014/chart" uri="{C3380CC4-5D6E-409C-BE32-E72D297353CC}">
              <c16:uniqueId val="{00000002-7393-41F3-9D3E-C8E4AA4B3B26}"/>
            </c:ext>
          </c:extLst>
        </c:ser>
        <c:dLbls>
          <c:showLegendKey val="0"/>
          <c:showVal val="0"/>
          <c:showCatName val="0"/>
          <c:showSerName val="0"/>
          <c:showPercent val="0"/>
          <c:showBubbleSize val="0"/>
        </c:dLbls>
        <c:gapWidth val="60"/>
        <c:overlap val="50"/>
        <c:axId val="382568736"/>
        <c:axId val="382569520"/>
      </c:barChart>
      <c:lineChart>
        <c:grouping val="standard"/>
        <c:varyColors val="0"/>
        <c:dLbls>
          <c:showLegendKey val="0"/>
          <c:showVal val="0"/>
          <c:showCatName val="0"/>
          <c:showSerName val="0"/>
          <c:showPercent val="0"/>
          <c:showBubbleSize val="0"/>
        </c:dLbls>
        <c:marker val="1"/>
        <c:smooth val="0"/>
        <c:axId val="382568736"/>
        <c:axId val="382569520"/>
        <c:extLst>
          <c:ext xmlns:c15="http://schemas.microsoft.com/office/drawing/2012/chart" uri="{02D57815-91ED-43cb-92C2-25804820EDAC}">
            <c15:filteredLineSeries>
              <c15:ser>
                <c:idx val="2"/>
                <c:order val="0"/>
                <c:tx>
                  <c:strRef>
                    <c:extLst>
                      <c:ext uri="{02D57815-91ED-43cb-92C2-25804820EDAC}">
                        <c15:formulaRef>
                          <c15:sqref>Sheet1!$D$1</c15:sqref>
                        </c15:formulaRef>
                      </c:ext>
                    </c:extLst>
                    <c:strCache>
                      <c:ptCount val="1"/>
                      <c:pt idx="0">
                        <c:v>Line</c:v>
                      </c:pt>
                    </c:strCache>
                  </c:strRef>
                </c:tx>
                <c:spPr>
                  <a:ln w="38100">
                    <a:solidFill>
                      <a:srgbClr val="FFC000"/>
                    </a:solidFill>
                  </a:ln>
                </c:spPr>
                <c:marker>
                  <c:symbol val="none"/>
                </c:marker>
                <c:val>
                  <c:numRef>
                    <c:extLst>
                      <c:ext uri="{02D57815-91ED-43cb-92C2-25804820EDAC}">
                        <c15:formulaRef>
                          <c15:sqref>Sheet1!$D$2:$D$6</c15:sqref>
                        </c15:formulaRef>
                      </c:ext>
                    </c:extLst>
                    <c:numCache>
                      <c:formatCode>General</c:formatCode>
                      <c:ptCount val="5"/>
                      <c:pt idx="0">
                        <c:v>100</c:v>
                      </c:pt>
                      <c:pt idx="1">
                        <c:v>100</c:v>
                      </c:pt>
                      <c:pt idx="2">
                        <c:v>100</c:v>
                      </c:pt>
                      <c:pt idx="3">
                        <c:v>100</c:v>
                      </c:pt>
                      <c:pt idx="4">
                        <c:v>100</c:v>
                      </c:pt>
                    </c:numCache>
                  </c:numRef>
                </c:val>
                <c:smooth val="0"/>
                <c:extLst>
                  <c:ext xmlns:c16="http://schemas.microsoft.com/office/drawing/2014/chart" uri="{C3380CC4-5D6E-409C-BE32-E72D297353CC}">
                    <c16:uniqueId val="{00000003-7393-41F3-9D3E-C8E4AA4B3B26}"/>
                  </c:ext>
                </c:extLst>
              </c15:ser>
            </c15:filteredLineSeries>
          </c:ext>
        </c:extLst>
      </c:lineChart>
      <c:catAx>
        <c:axId val="382568736"/>
        <c:scaling>
          <c:orientation val="minMax"/>
        </c:scaling>
        <c:delete val="0"/>
        <c:axPos val="b"/>
        <c:numFmt formatCode="[$-409]mmm\-yy;@" sourceLinked="0"/>
        <c:majorTickMark val="none"/>
        <c:minorTickMark val="none"/>
        <c:tickLblPos val="low"/>
        <c:spPr>
          <a:ln w="3368">
            <a:solidFill>
              <a:schemeClr val="tx1"/>
            </a:solidFill>
            <a:prstDash val="solid"/>
          </a:ln>
        </c:spPr>
        <c:txPr>
          <a:bodyPr rot="0" vert="horz"/>
          <a:lstStyle/>
          <a:p>
            <a:pPr>
              <a:defRPr sz="1400" b="1" i="0" u="none" strike="noStrike" baseline="0">
                <a:solidFill>
                  <a:schemeClr val="tx1"/>
                </a:solidFill>
                <a:latin typeface="+mj-lt"/>
                <a:ea typeface="Arial"/>
                <a:cs typeface="Arial"/>
              </a:defRPr>
            </a:pPr>
            <a:endParaRPr lang="en-US"/>
          </a:p>
        </c:txPr>
        <c:crossAx val="382569520"/>
        <c:crosses val="autoZero"/>
        <c:auto val="0"/>
        <c:lblAlgn val="ctr"/>
        <c:lblOffset val="100"/>
        <c:noMultiLvlLbl val="0"/>
      </c:catAx>
      <c:valAx>
        <c:axId val="382569520"/>
        <c:scaling>
          <c:orientation val="minMax"/>
        </c:scaling>
        <c:delete val="0"/>
        <c:axPos val="l"/>
        <c:majorGridlines>
          <c:spPr>
            <a:ln>
              <a:solidFill>
                <a:schemeClr val="bg1">
                  <a:lumMod val="75000"/>
                </a:schemeClr>
              </a:solidFill>
            </a:ln>
          </c:spPr>
        </c:majorGridlines>
        <c:numFmt formatCode="&quot;$&quot;#,##0" sourceLinked="0"/>
        <c:majorTickMark val="out"/>
        <c:minorTickMark val="none"/>
        <c:tickLblPos val="nextTo"/>
        <c:spPr>
          <a:ln w="3368">
            <a:solidFill>
              <a:schemeClr val="tx1"/>
            </a:solidFill>
            <a:prstDash val="solid"/>
          </a:ln>
        </c:spPr>
        <c:txPr>
          <a:bodyPr rot="0" vert="horz"/>
          <a:lstStyle/>
          <a:p>
            <a:pPr>
              <a:defRPr sz="1200" b="1" i="0" u="none" strike="noStrike" baseline="0">
                <a:solidFill>
                  <a:srgbClr val="3F3F3F"/>
                </a:solidFill>
                <a:latin typeface="+mn-lt"/>
                <a:ea typeface="Arial"/>
                <a:cs typeface="Arial"/>
              </a:defRPr>
            </a:pPr>
            <a:endParaRPr lang="en-US"/>
          </a:p>
        </c:txPr>
        <c:crossAx val="382568736"/>
        <c:crosses val="autoZero"/>
        <c:crossBetween val="between"/>
      </c:valAx>
      <c:spPr>
        <a:noFill/>
        <a:ln w="25400">
          <a:noFill/>
        </a:ln>
      </c:spPr>
    </c:plotArea>
    <c:legend>
      <c:legendPos val="t"/>
      <c:overlay val="0"/>
      <c:txPr>
        <a:bodyPr/>
        <a:lstStyle/>
        <a:p>
          <a:pPr>
            <a:defRPr sz="1400">
              <a:latin typeface="+mn-lt"/>
            </a:defRPr>
          </a:pPr>
          <a:endParaRPr lang="en-US"/>
        </a:p>
      </c:txPr>
    </c:legend>
    <c:plotVisOnly val="1"/>
    <c:dispBlanksAs val="gap"/>
    <c:showDLblsOverMax val="0"/>
  </c:chart>
  <c:spPr>
    <a:noFill/>
    <a:ln>
      <a:solidFill>
        <a:schemeClr val="tx2"/>
      </a:solidFill>
    </a:ln>
  </c:spPr>
  <c:txPr>
    <a:bodyPr/>
    <a:lstStyle/>
    <a:p>
      <a:pPr>
        <a:defRPr sz="1909" b="1" i="0" u="none" strike="noStrike" baseline="0">
          <a:solidFill>
            <a:schemeClr val="tx1"/>
          </a:solidFill>
          <a:latin typeface="Times New Roman"/>
          <a:ea typeface="Times New Roman"/>
          <a:cs typeface="Times New Roman"/>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600">
                <a:solidFill>
                  <a:srgbClr val="3F3F3F"/>
                </a:solidFill>
              </a:defRPr>
            </a:pPr>
            <a:r>
              <a:rPr lang="en-US" sz="1600" dirty="0">
                <a:solidFill>
                  <a:srgbClr val="3F3F3F"/>
                </a:solidFill>
                <a:latin typeface="Calibri" panose="020F0502020204030204" pitchFamily="34" charset="0"/>
                <a:cs typeface="Calibri" panose="020F0502020204030204" pitchFamily="34" charset="0"/>
              </a:rPr>
              <a:t>Total Market</a:t>
            </a:r>
            <a:endParaRPr lang="en-US" sz="1400" dirty="0">
              <a:solidFill>
                <a:srgbClr val="3F3F3F"/>
              </a:solidFill>
              <a:latin typeface="Calibri" panose="020F0502020204030204" pitchFamily="34" charset="0"/>
              <a:cs typeface="Calibri" panose="020F0502020204030204" pitchFamily="34" charset="0"/>
            </a:endParaRPr>
          </a:p>
        </c:rich>
      </c:tx>
      <c:overlay val="0"/>
    </c:title>
    <c:autoTitleDeleted val="0"/>
    <c:plotArea>
      <c:layout>
        <c:manualLayout>
          <c:layoutTarget val="inner"/>
          <c:xMode val="edge"/>
          <c:yMode val="edge"/>
          <c:x val="1.5901700400581704E-2"/>
          <c:y val="0.15712157157579479"/>
          <c:w val="0.96819660281893749"/>
          <c:h val="0.74790194310360802"/>
        </c:manualLayout>
      </c:layout>
      <c:barChart>
        <c:barDir val="col"/>
        <c:grouping val="clustered"/>
        <c:varyColors val="0"/>
        <c:ser>
          <c:idx val="0"/>
          <c:order val="0"/>
          <c:tx>
            <c:strRef>
              <c:f>Sheet1!$C$2</c:f>
              <c:strCache>
                <c:ptCount val="1"/>
                <c:pt idx="0">
                  <c:v>Actual</c:v>
                </c:pt>
              </c:strCache>
            </c:strRef>
          </c:tx>
          <c:spPr>
            <a:solidFill>
              <a:srgbClr val="48197F"/>
            </a:solidFill>
            <a:ln>
              <a:solidFill>
                <a:srgbClr val="48197F"/>
              </a:solidFill>
            </a:ln>
          </c:spPr>
          <c:invertIfNegative val="0"/>
          <c:dLbls>
            <c:numFmt formatCode="&quot;$&quot;#,##0" sourceLinked="0"/>
            <c:spPr>
              <a:noFill/>
              <a:ln>
                <a:noFill/>
              </a:ln>
              <a:effectLst/>
            </c:spPr>
            <c:txPr>
              <a:bodyPr/>
              <a:lstStyle/>
              <a:p>
                <a:pPr>
                  <a:defRPr sz="1200" b="1">
                    <a:solidFill>
                      <a:srgbClr val="3F3F3F"/>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3:$B$6</c:f>
              <c:numCache>
                <c:formatCode>General</c:formatCode>
                <c:ptCount val="4"/>
                <c:pt idx="0">
                  <c:v>2019</c:v>
                </c:pt>
                <c:pt idx="1">
                  <c:v>2020</c:v>
                </c:pt>
                <c:pt idx="2">
                  <c:v>2021</c:v>
                </c:pt>
                <c:pt idx="3">
                  <c:v>2022</c:v>
                </c:pt>
              </c:numCache>
            </c:numRef>
          </c:cat>
          <c:val>
            <c:numRef>
              <c:f>Sheet1!$C$3:$C$6</c:f>
              <c:numCache>
                <c:formatCode>"$"#,##0.00_);[Red]\("$"#,##0.00\)</c:formatCode>
                <c:ptCount val="4"/>
                <c:pt idx="0">
                  <c:v>65.857631275766806</c:v>
                </c:pt>
                <c:pt idx="1">
                  <c:v>38.622796054022004</c:v>
                </c:pt>
                <c:pt idx="2">
                  <c:v>56.95915379631488</c:v>
                </c:pt>
                <c:pt idx="3">
                  <c:v>71.383915862156755</c:v>
                </c:pt>
              </c:numCache>
            </c:numRef>
          </c:val>
          <c:extLst>
            <c:ext xmlns:c16="http://schemas.microsoft.com/office/drawing/2014/chart" uri="{C3380CC4-5D6E-409C-BE32-E72D297353CC}">
              <c16:uniqueId val="{00000000-34C2-46FC-AE63-BABD1097AB08}"/>
            </c:ext>
          </c:extLst>
        </c:ser>
        <c:ser>
          <c:idx val="1"/>
          <c:order val="1"/>
          <c:tx>
            <c:strRef>
              <c:f>Sheet1!$D$2</c:f>
              <c:strCache>
                <c:ptCount val="1"/>
                <c:pt idx="0">
                  <c:v>Forecast</c:v>
                </c:pt>
              </c:strCache>
            </c:strRef>
          </c:tx>
          <c:spPr>
            <a:pattFill prst="dkHorz">
              <a:fgClr>
                <a:srgbClr val="1F8776"/>
              </a:fgClr>
              <a:bgClr>
                <a:srgbClr val="FFFFFF"/>
              </a:bgClr>
            </a:pattFill>
            <a:ln>
              <a:solidFill>
                <a:srgbClr val="00A88C"/>
              </a:solidFill>
            </a:ln>
          </c:spPr>
          <c:invertIfNegative val="0"/>
          <c:cat>
            <c:numRef>
              <c:f>Sheet1!$B$3:$B$6</c:f>
              <c:numCache>
                <c:formatCode>General</c:formatCode>
                <c:ptCount val="4"/>
                <c:pt idx="0">
                  <c:v>2019</c:v>
                </c:pt>
                <c:pt idx="1">
                  <c:v>2020</c:v>
                </c:pt>
                <c:pt idx="2">
                  <c:v>2021</c:v>
                </c:pt>
                <c:pt idx="3">
                  <c:v>2022</c:v>
                </c:pt>
              </c:numCache>
            </c:numRef>
          </c:cat>
          <c:val>
            <c:numRef>
              <c:f>Sheet1!$D$3:$D$6</c:f>
              <c:numCache>
                <c:formatCode>#,##0</c:formatCode>
                <c:ptCount val="4"/>
                <c:pt idx="1">
                  <c:v>0</c:v>
                </c:pt>
              </c:numCache>
            </c:numRef>
          </c:val>
          <c:extLst>
            <c:ext xmlns:c16="http://schemas.microsoft.com/office/drawing/2014/chart" uri="{C3380CC4-5D6E-409C-BE32-E72D297353CC}">
              <c16:uniqueId val="{00000000-AF57-4962-8E91-529D1AE7B67D}"/>
            </c:ext>
          </c:extLst>
        </c:ser>
        <c:dLbls>
          <c:showLegendKey val="0"/>
          <c:showVal val="0"/>
          <c:showCatName val="0"/>
          <c:showSerName val="0"/>
          <c:showPercent val="0"/>
          <c:showBubbleSize val="0"/>
        </c:dLbls>
        <c:gapWidth val="60"/>
        <c:overlap val="100"/>
        <c:axId val="367692464"/>
        <c:axId val="367693024"/>
      </c:barChart>
      <c:catAx>
        <c:axId val="367692464"/>
        <c:scaling>
          <c:orientation val="minMax"/>
        </c:scaling>
        <c:delete val="0"/>
        <c:axPos val="b"/>
        <c:numFmt formatCode="General" sourceLinked="1"/>
        <c:majorTickMark val="out"/>
        <c:minorTickMark val="none"/>
        <c:tickLblPos val="nextTo"/>
        <c:spPr>
          <a:ln>
            <a:solidFill>
              <a:srgbClr val="150603"/>
            </a:solidFill>
          </a:ln>
        </c:spPr>
        <c:txPr>
          <a:bodyPr/>
          <a:lstStyle/>
          <a:p>
            <a:pPr>
              <a:defRPr sz="1400" b="1">
                <a:solidFill>
                  <a:srgbClr val="3F3F3F"/>
                </a:solidFill>
              </a:defRPr>
            </a:pPr>
            <a:endParaRPr lang="en-US"/>
          </a:p>
        </c:txPr>
        <c:crossAx val="367693024"/>
        <c:crosses val="autoZero"/>
        <c:auto val="0"/>
        <c:lblAlgn val="ctr"/>
        <c:lblOffset val="100"/>
        <c:noMultiLvlLbl val="0"/>
      </c:catAx>
      <c:valAx>
        <c:axId val="367693024"/>
        <c:scaling>
          <c:orientation val="minMax"/>
        </c:scaling>
        <c:delete val="1"/>
        <c:axPos val="l"/>
        <c:numFmt formatCode="#,##0.0" sourceLinked="0"/>
        <c:majorTickMark val="out"/>
        <c:minorTickMark val="none"/>
        <c:tickLblPos val="nextTo"/>
        <c:crossAx val="367692464"/>
        <c:crosses val="autoZero"/>
        <c:crossBetween val="between"/>
      </c:valAx>
    </c:plotArea>
    <c:plotVisOnly val="1"/>
    <c:dispBlanksAs val="gap"/>
    <c:showDLblsOverMax val="0"/>
  </c:chart>
  <c:spPr>
    <a:ln>
      <a:solidFill>
        <a:srgbClr val="1F8776"/>
      </a:solidFill>
    </a:ln>
  </c:spPr>
  <c:txPr>
    <a:bodyPr/>
    <a:lstStyle/>
    <a:p>
      <a:pPr>
        <a:defRPr sz="16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a:solidFill>
                  <a:schemeClr val="tx1"/>
                </a:solidFill>
                <a:latin typeface="+mn-lt"/>
              </a:defRPr>
            </a:pPr>
            <a:r>
              <a:rPr lang="en-US" sz="1600" baseline="0" dirty="0">
                <a:solidFill>
                  <a:schemeClr val="tx1"/>
                </a:solidFill>
                <a:latin typeface="+mn-lt"/>
              </a:rPr>
              <a:t>Sub-markets</a:t>
            </a:r>
          </a:p>
        </c:rich>
      </c:tx>
      <c:overlay val="0"/>
    </c:title>
    <c:autoTitleDeleted val="0"/>
    <c:plotArea>
      <c:layout>
        <c:manualLayout>
          <c:layoutTarget val="inner"/>
          <c:xMode val="edge"/>
          <c:yMode val="edge"/>
          <c:x val="6.7047649710238244E-2"/>
          <c:y val="0.15850389265673875"/>
          <c:w val="0.9198065921196259"/>
          <c:h val="0.7375656249335012"/>
        </c:manualLayout>
      </c:layout>
      <c:barChart>
        <c:barDir val="col"/>
        <c:grouping val="clustered"/>
        <c:varyColors val="0"/>
        <c:ser>
          <c:idx val="1"/>
          <c:order val="1"/>
          <c:tx>
            <c:strRef>
              <c:f>Sheet1!$C$1</c:f>
              <c:strCache>
                <c:ptCount val="1"/>
                <c:pt idx="0">
                  <c:v>2019</c:v>
                </c:pt>
              </c:strCache>
            </c:strRef>
          </c:tx>
          <c:spPr>
            <a:solidFill>
              <a:schemeClr val="bg1">
                <a:lumMod val="75000"/>
              </a:schemeClr>
            </a:solidFill>
            <a:ln>
              <a:solidFill>
                <a:schemeClr val="bg1">
                  <a:lumMod val="75000"/>
                </a:schemeClr>
              </a:solidFill>
            </a:ln>
          </c:spPr>
          <c:invertIfNegative val="0"/>
          <c:val>
            <c:numRef>
              <c:f>Sheet1!$C$2:$C$6</c:f>
              <c:numCache>
                <c:formatCode>"$"#,##0.00</c:formatCode>
                <c:ptCount val="5"/>
                <c:pt idx="0">
                  <c:v>115.27</c:v>
                </c:pt>
                <c:pt idx="1">
                  <c:v>99.082411721716937</c:v>
                </c:pt>
                <c:pt idx="2">
                  <c:v>60.765288379063023</c:v>
                </c:pt>
                <c:pt idx="3">
                  <c:v>58.130398860398863</c:v>
                </c:pt>
                <c:pt idx="4">
                  <c:v>45.966659101693864</c:v>
                </c:pt>
              </c:numCache>
            </c:numRef>
          </c:val>
          <c:extLst>
            <c:ext xmlns:c16="http://schemas.microsoft.com/office/drawing/2014/chart" uri="{C3380CC4-5D6E-409C-BE32-E72D297353CC}">
              <c16:uniqueId val="{00000000-7393-41F3-9D3E-C8E4AA4B3B26}"/>
            </c:ext>
          </c:extLst>
        </c:ser>
        <c:ser>
          <c:idx val="0"/>
          <c:order val="2"/>
          <c:tx>
            <c:strRef>
              <c:f>Sheet1!$B$1</c:f>
              <c:strCache>
                <c:ptCount val="1"/>
                <c:pt idx="0">
                  <c:v>2022</c:v>
                </c:pt>
              </c:strCache>
            </c:strRef>
          </c:tx>
          <c:spPr>
            <a:solidFill>
              <a:schemeClr val="accent3"/>
            </a:solidFill>
            <a:ln w="9525">
              <a:solidFill>
                <a:schemeClr val="accent3"/>
              </a:solidFill>
            </a:ln>
          </c:spPr>
          <c:invertIfNegative val="0"/>
          <c:dPt>
            <c:idx val="17"/>
            <c:invertIfNegative val="0"/>
            <c:bubble3D val="0"/>
            <c:extLst>
              <c:ext xmlns:c16="http://schemas.microsoft.com/office/drawing/2014/chart" uri="{C3380CC4-5D6E-409C-BE32-E72D297353CC}">
                <c16:uniqueId val="{00000001-7393-41F3-9D3E-C8E4AA4B3B26}"/>
              </c:ext>
            </c:extLst>
          </c:dPt>
          <c:cat>
            <c:strRef>
              <c:f>Sheet1!$A$2:$A$6</c:f>
              <c:strCache>
                <c:ptCount val="5"/>
                <c:pt idx="0">
                  <c:v>DWTN Core</c:v>
                </c:pt>
                <c:pt idx="1">
                  <c:v>Downtown</c:v>
                </c:pt>
                <c:pt idx="2">
                  <c:v>East</c:v>
                </c:pt>
                <c:pt idx="3">
                  <c:v>Airport/South</c:v>
                </c:pt>
                <c:pt idx="4">
                  <c:v>West</c:v>
                </c:pt>
              </c:strCache>
            </c:strRef>
          </c:cat>
          <c:val>
            <c:numRef>
              <c:f>Sheet1!$B$2:$B$6</c:f>
              <c:numCache>
                <c:formatCode>"$"#,##0.00</c:formatCode>
                <c:ptCount val="5"/>
                <c:pt idx="0">
                  <c:v>102.97</c:v>
                </c:pt>
                <c:pt idx="1">
                  <c:v>97.228647140100335</c:v>
                </c:pt>
                <c:pt idx="2">
                  <c:v>62.659709153309606</c:v>
                </c:pt>
                <c:pt idx="3">
                  <c:v>67.171374329070929</c:v>
                </c:pt>
                <c:pt idx="4">
                  <c:v>66.78665220935774</c:v>
                </c:pt>
              </c:numCache>
              <c:extLst/>
            </c:numRef>
          </c:val>
          <c:extLst>
            <c:ext xmlns:c16="http://schemas.microsoft.com/office/drawing/2014/chart" uri="{C3380CC4-5D6E-409C-BE32-E72D297353CC}">
              <c16:uniqueId val="{00000002-7393-41F3-9D3E-C8E4AA4B3B26}"/>
            </c:ext>
          </c:extLst>
        </c:ser>
        <c:dLbls>
          <c:showLegendKey val="0"/>
          <c:showVal val="0"/>
          <c:showCatName val="0"/>
          <c:showSerName val="0"/>
          <c:showPercent val="0"/>
          <c:showBubbleSize val="0"/>
        </c:dLbls>
        <c:gapWidth val="60"/>
        <c:overlap val="50"/>
        <c:axId val="382568736"/>
        <c:axId val="382569520"/>
      </c:barChart>
      <c:lineChart>
        <c:grouping val="standard"/>
        <c:varyColors val="0"/>
        <c:dLbls>
          <c:showLegendKey val="0"/>
          <c:showVal val="0"/>
          <c:showCatName val="0"/>
          <c:showSerName val="0"/>
          <c:showPercent val="0"/>
          <c:showBubbleSize val="0"/>
        </c:dLbls>
        <c:marker val="1"/>
        <c:smooth val="0"/>
        <c:axId val="382568736"/>
        <c:axId val="382569520"/>
        <c:extLst>
          <c:ext xmlns:c15="http://schemas.microsoft.com/office/drawing/2012/chart" uri="{02D57815-91ED-43cb-92C2-25804820EDAC}">
            <c15:filteredLineSeries>
              <c15:ser>
                <c:idx val="2"/>
                <c:order val="0"/>
                <c:tx>
                  <c:strRef>
                    <c:extLst>
                      <c:ext uri="{02D57815-91ED-43cb-92C2-25804820EDAC}">
                        <c15:formulaRef>
                          <c15:sqref>Sheet1!$D$1</c15:sqref>
                        </c15:formulaRef>
                      </c:ext>
                    </c:extLst>
                    <c:strCache>
                      <c:ptCount val="1"/>
                      <c:pt idx="0">
                        <c:v>Line</c:v>
                      </c:pt>
                    </c:strCache>
                  </c:strRef>
                </c:tx>
                <c:spPr>
                  <a:ln w="38100">
                    <a:solidFill>
                      <a:srgbClr val="FFC000"/>
                    </a:solidFill>
                  </a:ln>
                </c:spPr>
                <c:marker>
                  <c:symbol val="none"/>
                </c:marker>
                <c:val>
                  <c:numRef>
                    <c:extLst>
                      <c:ext uri="{02D57815-91ED-43cb-92C2-25804820EDAC}">
                        <c15:formulaRef>
                          <c15:sqref>Sheet1!$D$2:$D$6</c15:sqref>
                        </c15:formulaRef>
                      </c:ext>
                    </c:extLst>
                    <c:numCache>
                      <c:formatCode>General</c:formatCode>
                      <c:ptCount val="5"/>
                      <c:pt idx="0">
                        <c:v>100</c:v>
                      </c:pt>
                      <c:pt idx="1">
                        <c:v>100</c:v>
                      </c:pt>
                      <c:pt idx="2">
                        <c:v>100</c:v>
                      </c:pt>
                      <c:pt idx="3">
                        <c:v>100</c:v>
                      </c:pt>
                      <c:pt idx="4">
                        <c:v>100</c:v>
                      </c:pt>
                    </c:numCache>
                  </c:numRef>
                </c:val>
                <c:smooth val="0"/>
                <c:extLst>
                  <c:ext xmlns:c16="http://schemas.microsoft.com/office/drawing/2014/chart" uri="{C3380CC4-5D6E-409C-BE32-E72D297353CC}">
                    <c16:uniqueId val="{00000003-7393-41F3-9D3E-C8E4AA4B3B26}"/>
                  </c:ext>
                </c:extLst>
              </c15:ser>
            </c15:filteredLineSeries>
          </c:ext>
        </c:extLst>
      </c:lineChart>
      <c:catAx>
        <c:axId val="382568736"/>
        <c:scaling>
          <c:orientation val="minMax"/>
        </c:scaling>
        <c:delete val="0"/>
        <c:axPos val="b"/>
        <c:numFmt formatCode="[$-409]mmm\-yy;@" sourceLinked="0"/>
        <c:majorTickMark val="none"/>
        <c:minorTickMark val="none"/>
        <c:tickLblPos val="low"/>
        <c:spPr>
          <a:ln w="3368">
            <a:solidFill>
              <a:schemeClr val="tx1"/>
            </a:solidFill>
            <a:prstDash val="solid"/>
          </a:ln>
        </c:spPr>
        <c:txPr>
          <a:bodyPr rot="0" vert="horz"/>
          <a:lstStyle/>
          <a:p>
            <a:pPr>
              <a:defRPr sz="1400" b="1" i="0" u="none" strike="noStrike" baseline="0">
                <a:solidFill>
                  <a:schemeClr val="tx1"/>
                </a:solidFill>
                <a:latin typeface="+mj-lt"/>
                <a:ea typeface="Arial"/>
                <a:cs typeface="Arial"/>
              </a:defRPr>
            </a:pPr>
            <a:endParaRPr lang="en-US"/>
          </a:p>
        </c:txPr>
        <c:crossAx val="382569520"/>
        <c:crosses val="autoZero"/>
        <c:auto val="0"/>
        <c:lblAlgn val="ctr"/>
        <c:lblOffset val="100"/>
        <c:noMultiLvlLbl val="0"/>
      </c:catAx>
      <c:valAx>
        <c:axId val="382569520"/>
        <c:scaling>
          <c:orientation val="minMax"/>
        </c:scaling>
        <c:delete val="0"/>
        <c:axPos val="l"/>
        <c:majorGridlines>
          <c:spPr>
            <a:ln>
              <a:solidFill>
                <a:schemeClr val="bg1">
                  <a:lumMod val="75000"/>
                </a:schemeClr>
              </a:solidFill>
            </a:ln>
          </c:spPr>
        </c:majorGridlines>
        <c:numFmt formatCode="&quot;$&quot;#,##0" sourceLinked="0"/>
        <c:majorTickMark val="out"/>
        <c:minorTickMark val="none"/>
        <c:tickLblPos val="nextTo"/>
        <c:spPr>
          <a:ln w="3368">
            <a:solidFill>
              <a:schemeClr val="tx1"/>
            </a:solidFill>
            <a:prstDash val="solid"/>
          </a:ln>
        </c:spPr>
        <c:txPr>
          <a:bodyPr rot="0" vert="horz"/>
          <a:lstStyle/>
          <a:p>
            <a:pPr>
              <a:defRPr sz="1200" b="1" i="0" u="none" strike="noStrike" baseline="0">
                <a:solidFill>
                  <a:srgbClr val="3F3F3F"/>
                </a:solidFill>
                <a:latin typeface="+mn-lt"/>
                <a:ea typeface="Arial"/>
                <a:cs typeface="Arial"/>
              </a:defRPr>
            </a:pPr>
            <a:endParaRPr lang="en-US"/>
          </a:p>
        </c:txPr>
        <c:crossAx val="382568736"/>
        <c:crosses val="autoZero"/>
        <c:crossBetween val="between"/>
      </c:valAx>
      <c:spPr>
        <a:noFill/>
        <a:ln w="25400">
          <a:noFill/>
        </a:ln>
      </c:spPr>
    </c:plotArea>
    <c:legend>
      <c:legendPos val="t"/>
      <c:overlay val="0"/>
      <c:txPr>
        <a:bodyPr/>
        <a:lstStyle/>
        <a:p>
          <a:pPr>
            <a:defRPr sz="1400">
              <a:latin typeface="+mn-lt"/>
            </a:defRPr>
          </a:pPr>
          <a:endParaRPr lang="en-US"/>
        </a:p>
      </c:txPr>
    </c:legend>
    <c:plotVisOnly val="1"/>
    <c:dispBlanksAs val="gap"/>
    <c:showDLblsOverMax val="0"/>
  </c:chart>
  <c:spPr>
    <a:noFill/>
    <a:ln>
      <a:solidFill>
        <a:schemeClr val="tx2"/>
      </a:solidFill>
    </a:ln>
  </c:spPr>
  <c:txPr>
    <a:bodyPr/>
    <a:lstStyle/>
    <a:p>
      <a:pPr>
        <a:defRPr sz="1909" b="1" i="0" u="none" strike="noStrike" baseline="0">
          <a:solidFill>
            <a:schemeClr val="tx1"/>
          </a:solidFill>
          <a:latin typeface="Times New Roman"/>
          <a:ea typeface="Times New Roman"/>
          <a:cs typeface="Times New Roman"/>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063889004225814E-2"/>
          <c:y val="7.8148216458177849E-2"/>
          <c:w val="0.96734700107691873"/>
          <c:h val="0.76062534967573669"/>
        </c:manualLayout>
      </c:layout>
      <c:barChart>
        <c:barDir val="col"/>
        <c:grouping val="clustered"/>
        <c:varyColors val="0"/>
        <c:ser>
          <c:idx val="0"/>
          <c:order val="0"/>
          <c:tx>
            <c:strRef>
              <c:f>Sheet1!$C$1</c:f>
              <c:strCache>
                <c:ptCount val="1"/>
                <c:pt idx="0">
                  <c:v>OCC</c:v>
                </c:pt>
              </c:strCache>
            </c:strRef>
          </c:tx>
          <c:spPr>
            <a:solidFill>
              <a:schemeClr val="accent1"/>
            </a:solidFill>
            <a:ln w="9525">
              <a:solidFill>
                <a:schemeClr val="accent1"/>
              </a:solidFill>
            </a:ln>
            <a:effectLst/>
          </c:spPr>
          <c:invertIfNegative val="0"/>
          <c:dPt>
            <c:idx val="0"/>
            <c:invertIfNegative val="0"/>
            <c:bubble3D val="0"/>
            <c:extLst>
              <c:ext xmlns:c16="http://schemas.microsoft.com/office/drawing/2014/chart" uri="{C3380CC4-5D6E-409C-BE32-E72D297353CC}">
                <c16:uniqueId val="{00000001-6E24-4C10-92A1-7FDE3B08B563}"/>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18</c:f>
              <c:numCache>
                <c:formatCode>General</c:formatCode>
                <c:ptCount val="17"/>
                <c:pt idx="0">
                  <c:v>2021</c:v>
                </c:pt>
                <c:pt idx="1">
                  <c:v>2022</c:v>
                </c:pt>
                <c:pt idx="2">
                  <c:v>2023</c:v>
                </c:pt>
                <c:pt idx="3">
                  <c:v>2024</c:v>
                </c:pt>
                <c:pt idx="4">
                  <c:v>2025</c:v>
                </c:pt>
                <c:pt idx="6">
                  <c:v>2021</c:v>
                </c:pt>
                <c:pt idx="7">
                  <c:v>2022</c:v>
                </c:pt>
                <c:pt idx="8">
                  <c:v>2023</c:v>
                </c:pt>
                <c:pt idx="9">
                  <c:v>2024</c:v>
                </c:pt>
                <c:pt idx="10">
                  <c:v>2025</c:v>
                </c:pt>
                <c:pt idx="12">
                  <c:v>2021</c:v>
                </c:pt>
                <c:pt idx="13">
                  <c:v>2022</c:v>
                </c:pt>
                <c:pt idx="14">
                  <c:v>2023</c:v>
                </c:pt>
                <c:pt idx="15">
                  <c:v>2024</c:v>
                </c:pt>
                <c:pt idx="16">
                  <c:v>2025</c:v>
                </c:pt>
              </c:numCache>
            </c:numRef>
          </c:cat>
          <c:val>
            <c:numRef>
              <c:f>Sheet1!$C$2:$C$18</c:f>
              <c:numCache>
                <c:formatCode>0.0%</c:formatCode>
                <c:ptCount val="17"/>
                <c:pt idx="0">
                  <c:v>0.57552284683470611</c:v>
                </c:pt>
                <c:pt idx="1">
                  <c:v>0.62974285455303269</c:v>
                </c:pt>
                <c:pt idx="2">
                  <c:v>0.64639424479575469</c:v>
                </c:pt>
                <c:pt idx="3">
                  <c:v>0.65798533423135808</c:v>
                </c:pt>
                <c:pt idx="4">
                  <c:v>0.66235704323785305</c:v>
                </c:pt>
              </c:numCache>
            </c:numRef>
          </c:val>
          <c:extLst>
            <c:ext xmlns:c16="http://schemas.microsoft.com/office/drawing/2014/chart" uri="{C3380CC4-5D6E-409C-BE32-E72D297353CC}">
              <c16:uniqueId val="{00000002-6E24-4C10-92A1-7FDE3B08B563}"/>
            </c:ext>
          </c:extLst>
        </c:ser>
        <c:ser>
          <c:idx val="1"/>
          <c:order val="1"/>
          <c:tx>
            <c:strRef>
              <c:f>Sheet1!$D$1</c:f>
              <c:strCache>
                <c:ptCount val="1"/>
                <c:pt idx="0">
                  <c:v>Nominal ADR</c:v>
                </c:pt>
              </c:strCache>
            </c:strRef>
          </c:tx>
          <c:spPr>
            <a:solidFill>
              <a:schemeClr val="accent2"/>
            </a:solidFill>
            <a:ln w="9525">
              <a:solidFill>
                <a:schemeClr val="accent2"/>
              </a:solidFill>
            </a:ln>
            <a:effectLst/>
          </c:spPr>
          <c:invertIfNegative val="0"/>
          <c:dPt>
            <c:idx val="5"/>
            <c:invertIfNegative val="0"/>
            <c:bubble3D val="0"/>
            <c:spPr>
              <a:solidFill>
                <a:srgbClr val="0863B5"/>
              </a:solidFill>
              <a:ln w="9525">
                <a:solidFill>
                  <a:schemeClr val="accent2"/>
                </a:solidFill>
              </a:ln>
              <a:effectLst/>
            </c:spPr>
            <c:extLst>
              <c:ext xmlns:c16="http://schemas.microsoft.com/office/drawing/2014/chart" uri="{C3380CC4-5D6E-409C-BE32-E72D297353CC}">
                <c16:uniqueId val="{00000004-6E24-4C10-92A1-7FDE3B08B563}"/>
              </c:ext>
            </c:extLst>
          </c:dPt>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18</c:f>
              <c:numCache>
                <c:formatCode>General</c:formatCode>
                <c:ptCount val="17"/>
                <c:pt idx="0">
                  <c:v>2021</c:v>
                </c:pt>
                <c:pt idx="1">
                  <c:v>2022</c:v>
                </c:pt>
                <c:pt idx="2">
                  <c:v>2023</c:v>
                </c:pt>
                <c:pt idx="3">
                  <c:v>2024</c:v>
                </c:pt>
                <c:pt idx="4">
                  <c:v>2025</c:v>
                </c:pt>
                <c:pt idx="6">
                  <c:v>2021</c:v>
                </c:pt>
                <c:pt idx="7">
                  <c:v>2022</c:v>
                </c:pt>
                <c:pt idx="8">
                  <c:v>2023</c:v>
                </c:pt>
                <c:pt idx="9">
                  <c:v>2024</c:v>
                </c:pt>
                <c:pt idx="10">
                  <c:v>2025</c:v>
                </c:pt>
                <c:pt idx="12">
                  <c:v>2021</c:v>
                </c:pt>
                <c:pt idx="13">
                  <c:v>2022</c:v>
                </c:pt>
                <c:pt idx="14">
                  <c:v>2023</c:v>
                </c:pt>
                <c:pt idx="15">
                  <c:v>2024</c:v>
                </c:pt>
                <c:pt idx="16">
                  <c:v>2025</c:v>
                </c:pt>
              </c:numCache>
            </c:numRef>
          </c:cat>
          <c:val>
            <c:numRef>
              <c:f>Sheet1!$D$2:$D$18</c:f>
              <c:numCache>
                <c:formatCode>General</c:formatCode>
                <c:ptCount val="17"/>
                <c:pt idx="6" formatCode="_(&quot;$&quot;* #,##0.00_);_(&quot;$&quot;* \(#,##0.00\);_(&quot;$&quot;* &quot;-&quot;??_);_(@_)">
                  <c:v>124.91869203711319</c:v>
                </c:pt>
                <c:pt idx="7" formatCode="_(&quot;$&quot;* #,##0.00_);_(&quot;$&quot;* \(#,##0.00\);_(&quot;$&quot;* &quot;-&quot;??_);_(@_)">
                  <c:v>147.83418926853767</c:v>
                </c:pt>
                <c:pt idx="8" formatCode="_(&quot;$&quot;* #,##0.00_);_(&quot;$&quot;* \(#,##0.00\);_(&quot;$&quot;* &quot;-&quot;??_);_(@_)">
                  <c:v>152.20288476842896</c:v>
                </c:pt>
                <c:pt idx="9" formatCode="_(&quot;$&quot;* #,##0.00_);_(&quot;$&quot;* \(#,##0.00\);_(&quot;$&quot;* &quot;-&quot;??_);_(@_)">
                  <c:v>156.97152498279291</c:v>
                </c:pt>
                <c:pt idx="10" formatCode="_(&quot;$&quot;* #,##0.00_);_(&quot;$&quot;* \(#,##0.00\);_(&quot;$&quot;* &quot;-&quot;??_);_(@_)">
                  <c:v>161.07415440158138</c:v>
                </c:pt>
              </c:numCache>
            </c:numRef>
          </c:val>
          <c:extLst xmlns:c15="http://schemas.microsoft.com/office/drawing/2012/chart">
            <c:ext xmlns:c16="http://schemas.microsoft.com/office/drawing/2014/chart" uri="{C3380CC4-5D6E-409C-BE32-E72D297353CC}">
              <c16:uniqueId val="{00000005-6E24-4C10-92A1-7FDE3B08B563}"/>
            </c:ext>
          </c:extLst>
        </c:ser>
        <c:ser>
          <c:idx val="3"/>
          <c:order val="2"/>
          <c:tx>
            <c:strRef>
              <c:f>Sheet1!$E$1</c:f>
              <c:strCache>
                <c:ptCount val="1"/>
                <c:pt idx="0">
                  <c:v>Nominal RevPAR</c:v>
                </c:pt>
              </c:strCache>
            </c:strRef>
          </c:tx>
          <c:spPr>
            <a:solidFill>
              <a:schemeClr val="accent3"/>
            </a:solidFill>
            <a:ln w="9525">
              <a:solidFill>
                <a:schemeClr val="accent3"/>
              </a:solidFill>
            </a:ln>
            <a:effectLst/>
          </c:spPr>
          <c:invertIfNegative val="0"/>
          <c:dPt>
            <c:idx val="10"/>
            <c:invertIfNegative val="0"/>
            <c:bubble3D val="0"/>
            <c:extLst>
              <c:ext xmlns:c16="http://schemas.microsoft.com/office/drawing/2014/chart" uri="{C3380CC4-5D6E-409C-BE32-E72D297353CC}">
                <c16:uniqueId val="{0000000A-6E24-4C10-92A1-7FDE3B08B563}"/>
              </c:ext>
            </c:extLst>
          </c:dPt>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18</c:f>
              <c:numCache>
                <c:formatCode>General</c:formatCode>
                <c:ptCount val="17"/>
                <c:pt idx="0">
                  <c:v>2021</c:v>
                </c:pt>
                <c:pt idx="1">
                  <c:v>2022</c:v>
                </c:pt>
                <c:pt idx="2">
                  <c:v>2023</c:v>
                </c:pt>
                <c:pt idx="3">
                  <c:v>2024</c:v>
                </c:pt>
                <c:pt idx="4">
                  <c:v>2025</c:v>
                </c:pt>
                <c:pt idx="6">
                  <c:v>2021</c:v>
                </c:pt>
                <c:pt idx="7">
                  <c:v>2022</c:v>
                </c:pt>
                <c:pt idx="8">
                  <c:v>2023</c:v>
                </c:pt>
                <c:pt idx="9">
                  <c:v>2024</c:v>
                </c:pt>
                <c:pt idx="10">
                  <c:v>2025</c:v>
                </c:pt>
                <c:pt idx="12">
                  <c:v>2021</c:v>
                </c:pt>
                <c:pt idx="13">
                  <c:v>2022</c:v>
                </c:pt>
                <c:pt idx="14">
                  <c:v>2023</c:v>
                </c:pt>
                <c:pt idx="15">
                  <c:v>2024</c:v>
                </c:pt>
                <c:pt idx="16">
                  <c:v>2025</c:v>
                </c:pt>
              </c:numCache>
            </c:numRef>
          </c:cat>
          <c:val>
            <c:numRef>
              <c:f>Sheet1!$E$2:$E$18</c:f>
              <c:numCache>
                <c:formatCode>General</c:formatCode>
                <c:ptCount val="17"/>
                <c:pt idx="12" formatCode="_(&quot;$&quot;* #,##0.00_);_(&quot;$&quot;* \(#,##0.00\);_(&quot;$&quot;* &quot;-&quot;??_);_(@_)">
                  <c:v>71.893561264067316</c:v>
                </c:pt>
                <c:pt idx="13" formatCode="_(&quot;$&quot;* #,##0.00_);_(&quot;$&quot;* \(#,##0.00\);_(&quot;$&quot;* &quot;-&quot;??_);_(@_)">
                  <c:v>93.097524350502226</c:v>
                </c:pt>
                <c:pt idx="14" formatCode="_(&quot;$&quot;* #,##0.00_);_(&quot;$&quot;* \(#,##0.00\);_(&quot;$&quot;* &quot;-&quot;??_);_(@_)">
                  <c:v>98.383068755623896</c:v>
                </c:pt>
                <c:pt idx="15" formatCode="_(&quot;$&quot;* #,##0.00_);_(&quot;$&quot;* \(#,##0.00\);_(&quot;$&quot;* &quot;-&quot;??_);_(@_)">
                  <c:v>103.28496133060898</c:v>
                </c:pt>
                <c:pt idx="16" formatCode="_(&quot;$&quot;* #,##0.00_);_(&quot;$&quot;* \(#,##0.00\);_(&quot;$&quot;* &quot;-&quot;??_);_(@_)">
                  <c:v>106.68860065146885</c:v>
                </c:pt>
              </c:numCache>
            </c:numRef>
          </c:val>
          <c:extLst>
            <c:ext xmlns:c16="http://schemas.microsoft.com/office/drawing/2014/chart" uri="{C3380CC4-5D6E-409C-BE32-E72D297353CC}">
              <c16:uniqueId val="{0000000B-6E24-4C10-92A1-7FDE3B08B563}"/>
            </c:ext>
          </c:extLst>
        </c:ser>
        <c:dLbls>
          <c:showLegendKey val="0"/>
          <c:showVal val="0"/>
          <c:showCatName val="0"/>
          <c:showSerName val="0"/>
          <c:showPercent val="0"/>
          <c:showBubbleSize val="0"/>
        </c:dLbls>
        <c:gapWidth val="60"/>
        <c:overlap val="100"/>
        <c:axId val="415531200"/>
        <c:axId val="415533552"/>
        <c:extLst/>
      </c:barChart>
      <c:catAx>
        <c:axId val="415531200"/>
        <c:scaling>
          <c:orientation val="minMax"/>
        </c:scaling>
        <c:delete val="0"/>
        <c:axPos val="b"/>
        <c:numFmt formatCode="General" sourceLinked="0"/>
        <c:majorTickMark val="none"/>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1400" b="1" i="0" u="none" strike="noStrike" kern="1200" baseline="0">
                <a:solidFill>
                  <a:schemeClr val="tx1"/>
                </a:solidFill>
                <a:latin typeface="+mn-lt"/>
                <a:ea typeface="+mn-ea"/>
                <a:cs typeface="+mn-cs"/>
              </a:defRPr>
            </a:pPr>
            <a:endParaRPr lang="en-US"/>
          </a:p>
        </c:txPr>
        <c:crossAx val="415533552"/>
        <c:crosses val="autoZero"/>
        <c:auto val="0"/>
        <c:lblAlgn val="ctr"/>
        <c:lblOffset val="100"/>
        <c:tickLblSkip val="1"/>
        <c:noMultiLvlLbl val="0"/>
      </c:catAx>
      <c:valAx>
        <c:axId val="415533552"/>
        <c:scaling>
          <c:orientation val="minMax"/>
          <c:min val="70"/>
        </c:scaling>
        <c:delete val="1"/>
        <c:axPos val="l"/>
        <c:numFmt formatCode="0" sourceLinked="0"/>
        <c:majorTickMark val="out"/>
        <c:minorTickMark val="none"/>
        <c:tickLblPos val="nextTo"/>
        <c:crossAx val="415531200"/>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026807092253756E-2"/>
          <c:y val="5.693318200571585E-2"/>
          <c:w val="0.96782741488230351"/>
          <c:h val="0.71565916198927737"/>
        </c:manualLayout>
      </c:layout>
      <c:barChart>
        <c:barDir val="col"/>
        <c:grouping val="clustered"/>
        <c:varyColors val="0"/>
        <c:ser>
          <c:idx val="0"/>
          <c:order val="0"/>
          <c:tx>
            <c:strRef>
              <c:f>Sheet1!$C$1</c:f>
              <c:strCache>
                <c:ptCount val="1"/>
                <c:pt idx="0">
                  <c:v>Shoulders
(Sunday &amp; Thursday)</c:v>
                </c:pt>
              </c:strCache>
            </c:strRef>
          </c:tx>
          <c:spPr>
            <a:solidFill>
              <a:schemeClr val="accent4"/>
            </a:solidFill>
            <a:ln w="9525">
              <a:solidFill>
                <a:schemeClr val="accent4"/>
              </a:solidFill>
            </a:ln>
          </c:spPr>
          <c:invertIfNegative val="0"/>
          <c:dLbls>
            <c:numFmt formatCode="#,##0" sourceLinked="0"/>
            <c:spPr>
              <a:noFill/>
              <a:ln>
                <a:noFill/>
              </a:ln>
              <a:effectLst/>
            </c:spPr>
            <c:txPr>
              <a:bodyPr wrap="square" lIns="38100" tIns="19050" rIns="38100" bIns="19050" anchor="ctr">
                <a:spAutoFit/>
              </a:bodyPr>
              <a:lstStyle/>
              <a:p>
                <a:pPr>
                  <a:defRPr sz="1400">
                    <a:latin typeface="+mj-lt"/>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Sheet1!$A$2:$B$13</c:f>
              <c:multiLvlStrCache>
                <c:ptCount val="12"/>
                <c:lvl>
                  <c:pt idx="0">
                    <c:v>3Q21</c:v>
                  </c:pt>
                  <c:pt idx="1">
                    <c:v>4Q21</c:v>
                  </c:pt>
                  <c:pt idx="2">
                    <c:v>1Q22</c:v>
                  </c:pt>
                  <c:pt idx="3">
                    <c:v>2Q22</c:v>
                  </c:pt>
                  <c:pt idx="4">
                    <c:v>3Q21</c:v>
                  </c:pt>
                  <c:pt idx="5">
                    <c:v>4Q21</c:v>
                  </c:pt>
                  <c:pt idx="6">
                    <c:v>1Q22</c:v>
                  </c:pt>
                  <c:pt idx="7">
                    <c:v>2Q22</c:v>
                  </c:pt>
                  <c:pt idx="8">
                    <c:v>3Q21</c:v>
                  </c:pt>
                  <c:pt idx="9">
                    <c:v>4Q21</c:v>
                  </c:pt>
                  <c:pt idx="10">
                    <c:v>1Q22</c:v>
                  </c:pt>
                  <c:pt idx="11">
                    <c:v>2Q22</c:v>
                  </c:pt>
                </c:lvl>
                <c:lvl>
                  <c:pt idx="0">
                    <c:v>Shoulder</c:v>
                  </c:pt>
                  <c:pt idx="4">
                    <c:v>Weekdays</c:v>
                  </c:pt>
                  <c:pt idx="8">
                    <c:v>Weekends</c:v>
                  </c:pt>
                </c:lvl>
              </c:multiLvlStrCache>
            </c:multiLvlStrRef>
          </c:cat>
          <c:val>
            <c:numRef>
              <c:f>Sheet1!$C$2:$C$13</c:f>
              <c:numCache>
                <c:formatCode>0.00</c:formatCode>
                <c:ptCount val="12"/>
                <c:pt idx="0">
                  <c:v>99.271964290027086</c:v>
                </c:pt>
                <c:pt idx="1">
                  <c:v>96.625954711743177</c:v>
                </c:pt>
                <c:pt idx="2">
                  <c:v>96.681916525951252</c:v>
                </c:pt>
                <c:pt idx="3">
                  <c:v>100.18576672054975</c:v>
                </c:pt>
              </c:numCache>
            </c:numRef>
          </c:val>
          <c:extLst>
            <c:ext xmlns:c16="http://schemas.microsoft.com/office/drawing/2014/chart" uri="{C3380CC4-5D6E-409C-BE32-E72D297353CC}">
              <c16:uniqueId val="{00000000-1007-4B9E-A0DC-9B743F4B5222}"/>
            </c:ext>
          </c:extLst>
        </c:ser>
        <c:ser>
          <c:idx val="1"/>
          <c:order val="1"/>
          <c:tx>
            <c:strRef>
              <c:f>Sheet1!$D$1</c:f>
              <c:strCache>
                <c:ptCount val="1"/>
                <c:pt idx="0">
                  <c:v>Weekdays
(Monday - Wednesday)</c:v>
                </c:pt>
              </c:strCache>
            </c:strRef>
          </c:tx>
          <c:spPr>
            <a:solidFill>
              <a:schemeClr val="accent4">
                <a:lumMod val="25000"/>
                <a:lumOff val="75000"/>
              </a:schemeClr>
            </a:solidFill>
            <a:ln>
              <a:solidFill>
                <a:schemeClr val="accent4">
                  <a:lumMod val="25000"/>
                  <a:lumOff val="75000"/>
                </a:schemeClr>
              </a:solidFill>
            </a:ln>
          </c:spPr>
          <c:invertIfNegative val="0"/>
          <c:dLbls>
            <c:numFmt formatCode="#,##0" sourceLinked="0"/>
            <c:spPr>
              <a:noFill/>
              <a:ln>
                <a:noFill/>
              </a:ln>
              <a:effectLst/>
            </c:spPr>
            <c:txPr>
              <a:bodyPr wrap="square" lIns="38100" tIns="19050" rIns="38100" bIns="19050" anchor="ctr">
                <a:spAutoFit/>
              </a:bodyPr>
              <a:lstStyle/>
              <a:p>
                <a:pPr>
                  <a:defRPr sz="1400">
                    <a:latin typeface="+mj-lt"/>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Sheet1!$A$2:$B$13</c:f>
              <c:multiLvlStrCache>
                <c:ptCount val="12"/>
                <c:lvl>
                  <c:pt idx="0">
                    <c:v>3Q21</c:v>
                  </c:pt>
                  <c:pt idx="1">
                    <c:v>4Q21</c:v>
                  </c:pt>
                  <c:pt idx="2">
                    <c:v>1Q22</c:v>
                  </c:pt>
                  <c:pt idx="3">
                    <c:v>2Q22</c:v>
                  </c:pt>
                  <c:pt idx="4">
                    <c:v>3Q21</c:v>
                  </c:pt>
                  <c:pt idx="5">
                    <c:v>4Q21</c:v>
                  </c:pt>
                  <c:pt idx="6">
                    <c:v>1Q22</c:v>
                  </c:pt>
                  <c:pt idx="7">
                    <c:v>2Q22</c:v>
                  </c:pt>
                  <c:pt idx="8">
                    <c:v>3Q21</c:v>
                  </c:pt>
                  <c:pt idx="9">
                    <c:v>4Q21</c:v>
                  </c:pt>
                  <c:pt idx="10">
                    <c:v>1Q22</c:v>
                  </c:pt>
                  <c:pt idx="11">
                    <c:v>2Q22</c:v>
                  </c:pt>
                </c:lvl>
                <c:lvl>
                  <c:pt idx="0">
                    <c:v>Shoulder</c:v>
                  </c:pt>
                  <c:pt idx="4">
                    <c:v>Weekdays</c:v>
                  </c:pt>
                  <c:pt idx="8">
                    <c:v>Weekends</c:v>
                  </c:pt>
                </c:lvl>
              </c:multiLvlStrCache>
            </c:multiLvlStrRef>
          </c:cat>
          <c:val>
            <c:numRef>
              <c:f>Sheet1!$D$2:$D$13</c:f>
              <c:numCache>
                <c:formatCode>General</c:formatCode>
                <c:ptCount val="12"/>
                <c:pt idx="4" formatCode="0.00">
                  <c:v>85.081151181642085</c:v>
                </c:pt>
                <c:pt idx="5" formatCode="0.00">
                  <c:v>88.250418425247901</c:v>
                </c:pt>
                <c:pt idx="6" formatCode="0.00">
                  <c:v>91.15508485839662</c:v>
                </c:pt>
                <c:pt idx="7" formatCode="0.00">
                  <c:v>95.193833705966583</c:v>
                </c:pt>
              </c:numCache>
            </c:numRef>
          </c:val>
          <c:extLst>
            <c:ext xmlns:c16="http://schemas.microsoft.com/office/drawing/2014/chart" uri="{C3380CC4-5D6E-409C-BE32-E72D297353CC}">
              <c16:uniqueId val="{00000001-0064-4327-8C3B-65DC9D7E3F52}"/>
            </c:ext>
          </c:extLst>
        </c:ser>
        <c:ser>
          <c:idx val="5"/>
          <c:order val="2"/>
          <c:tx>
            <c:strRef>
              <c:f>Sheet1!$E$1</c:f>
              <c:strCache>
                <c:ptCount val="1"/>
                <c:pt idx="0">
                  <c:v>Weekend
(Friday &amp; Saturday)</c:v>
                </c:pt>
              </c:strCache>
            </c:strRef>
          </c:tx>
          <c:spPr>
            <a:solidFill>
              <a:schemeClr val="accent4">
                <a:lumMod val="75000"/>
                <a:lumOff val="25000"/>
              </a:schemeClr>
            </a:solidFill>
            <a:ln>
              <a:solidFill>
                <a:schemeClr val="accent4">
                  <a:lumMod val="75000"/>
                  <a:lumOff val="25000"/>
                </a:schemeClr>
              </a:solidFill>
            </a:ln>
          </c:spPr>
          <c:invertIfNegative val="0"/>
          <c:dLbls>
            <c:numFmt formatCode="#,##0" sourceLinked="0"/>
            <c:spPr>
              <a:noFill/>
              <a:ln>
                <a:noFill/>
              </a:ln>
              <a:effectLst/>
            </c:spPr>
            <c:txPr>
              <a:bodyPr wrap="square" lIns="38100" tIns="19050" rIns="38100" bIns="19050" anchor="ctr">
                <a:spAutoFit/>
              </a:bodyPr>
              <a:lstStyle/>
              <a:p>
                <a:pPr>
                  <a:defRPr sz="1400">
                    <a:latin typeface="+mj-lt"/>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Sheet1!$A$2:$B$13</c:f>
              <c:multiLvlStrCache>
                <c:ptCount val="12"/>
                <c:lvl>
                  <c:pt idx="0">
                    <c:v>3Q21</c:v>
                  </c:pt>
                  <c:pt idx="1">
                    <c:v>4Q21</c:v>
                  </c:pt>
                  <c:pt idx="2">
                    <c:v>1Q22</c:v>
                  </c:pt>
                  <c:pt idx="3">
                    <c:v>2Q22</c:v>
                  </c:pt>
                  <c:pt idx="4">
                    <c:v>3Q21</c:v>
                  </c:pt>
                  <c:pt idx="5">
                    <c:v>4Q21</c:v>
                  </c:pt>
                  <c:pt idx="6">
                    <c:v>1Q22</c:v>
                  </c:pt>
                  <c:pt idx="7">
                    <c:v>2Q22</c:v>
                  </c:pt>
                  <c:pt idx="8">
                    <c:v>3Q21</c:v>
                  </c:pt>
                  <c:pt idx="9">
                    <c:v>4Q21</c:v>
                  </c:pt>
                  <c:pt idx="10">
                    <c:v>1Q22</c:v>
                  </c:pt>
                  <c:pt idx="11">
                    <c:v>2Q22</c:v>
                  </c:pt>
                </c:lvl>
                <c:lvl>
                  <c:pt idx="0">
                    <c:v>Shoulder</c:v>
                  </c:pt>
                  <c:pt idx="4">
                    <c:v>Weekdays</c:v>
                  </c:pt>
                  <c:pt idx="8">
                    <c:v>Weekends</c:v>
                  </c:pt>
                </c:lvl>
              </c:multiLvlStrCache>
            </c:multiLvlStrRef>
          </c:cat>
          <c:val>
            <c:numRef>
              <c:f>Sheet1!$E$2:$E$13</c:f>
              <c:numCache>
                <c:formatCode>General</c:formatCode>
                <c:ptCount val="12"/>
                <c:pt idx="8" formatCode="0.00">
                  <c:v>98.708306500549611</c:v>
                </c:pt>
                <c:pt idx="9" formatCode="0.00">
                  <c:v>104.26743014726301</c:v>
                </c:pt>
                <c:pt idx="10" formatCode="0.00">
                  <c:v>96.304840656934132</c:v>
                </c:pt>
                <c:pt idx="11" formatCode="0.00">
                  <c:v>101.37095287530514</c:v>
                </c:pt>
              </c:numCache>
            </c:numRef>
          </c:val>
          <c:extLst>
            <c:ext xmlns:c16="http://schemas.microsoft.com/office/drawing/2014/chart" uri="{C3380CC4-5D6E-409C-BE32-E72D297353CC}">
              <c16:uniqueId val="{00000006-0064-4327-8C3B-65DC9D7E3F52}"/>
            </c:ext>
          </c:extLst>
        </c:ser>
        <c:dLbls>
          <c:showLegendKey val="0"/>
          <c:showVal val="0"/>
          <c:showCatName val="0"/>
          <c:showSerName val="0"/>
          <c:showPercent val="0"/>
          <c:showBubbleSize val="0"/>
        </c:dLbls>
        <c:gapWidth val="60"/>
        <c:overlap val="100"/>
        <c:axId val="382568736"/>
        <c:axId val="382569520"/>
      </c:barChart>
      <c:catAx>
        <c:axId val="382568736"/>
        <c:scaling>
          <c:orientation val="minMax"/>
        </c:scaling>
        <c:delete val="0"/>
        <c:axPos val="b"/>
        <c:numFmt formatCode="[$-409]d\-mmm;@" sourceLinked="0"/>
        <c:majorTickMark val="none"/>
        <c:minorTickMark val="none"/>
        <c:tickLblPos val="low"/>
        <c:spPr>
          <a:ln w="3368">
            <a:solidFill>
              <a:schemeClr val="tx1"/>
            </a:solidFill>
            <a:prstDash val="solid"/>
          </a:ln>
        </c:spPr>
        <c:txPr>
          <a:bodyPr rot="0" vert="horz"/>
          <a:lstStyle/>
          <a:p>
            <a:pPr>
              <a:defRPr sz="1400" b="1" i="0" u="none" strike="noStrike" baseline="0">
                <a:solidFill>
                  <a:schemeClr val="tx1"/>
                </a:solidFill>
                <a:latin typeface="+mn-lt"/>
                <a:ea typeface="Arial"/>
                <a:cs typeface="Arial"/>
              </a:defRPr>
            </a:pPr>
            <a:endParaRPr lang="en-US"/>
          </a:p>
        </c:txPr>
        <c:crossAx val="382569520"/>
        <c:crosses val="autoZero"/>
        <c:auto val="0"/>
        <c:lblAlgn val="ctr"/>
        <c:lblOffset val="100"/>
        <c:tickLblSkip val="1"/>
        <c:noMultiLvlLbl val="0"/>
      </c:catAx>
      <c:valAx>
        <c:axId val="382569520"/>
        <c:scaling>
          <c:orientation val="minMax"/>
          <c:min val="60"/>
        </c:scaling>
        <c:delete val="1"/>
        <c:axPos val="l"/>
        <c:numFmt formatCode="#,##0" sourceLinked="0"/>
        <c:majorTickMark val="out"/>
        <c:minorTickMark val="none"/>
        <c:tickLblPos val="nextTo"/>
        <c:crossAx val="382568736"/>
        <c:crosses val="autoZero"/>
        <c:crossBetween val="between"/>
      </c:valAx>
      <c:spPr>
        <a:noFill/>
        <a:ln w="25400">
          <a:noFill/>
        </a:ln>
      </c:spPr>
    </c:plotArea>
    <c:plotVisOnly val="1"/>
    <c:dispBlanksAs val="gap"/>
    <c:showDLblsOverMax val="0"/>
  </c:chart>
  <c:spPr>
    <a:noFill/>
    <a:ln>
      <a:noFill/>
    </a:ln>
  </c:spPr>
  <c:txPr>
    <a:bodyPr/>
    <a:lstStyle/>
    <a:p>
      <a:pPr>
        <a:defRPr sz="1909" b="1" i="0" u="none" strike="noStrike" baseline="0">
          <a:solidFill>
            <a:schemeClr val="tx1"/>
          </a:solidFill>
          <a:latin typeface="Times New Roman"/>
          <a:ea typeface="Times New Roman"/>
          <a:cs typeface="Times New Roman"/>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063889004225814E-2"/>
          <c:y val="7.8148216458177849E-2"/>
          <c:w val="0.96734700107691873"/>
          <c:h val="0.76062534967573669"/>
        </c:manualLayout>
      </c:layout>
      <c:barChart>
        <c:barDir val="col"/>
        <c:grouping val="clustered"/>
        <c:varyColors val="0"/>
        <c:ser>
          <c:idx val="0"/>
          <c:order val="0"/>
          <c:tx>
            <c:strRef>
              <c:f>Sheet1!$C$1</c:f>
              <c:strCache>
                <c:ptCount val="1"/>
                <c:pt idx="0">
                  <c:v>Occupancy</c:v>
                </c:pt>
              </c:strCache>
            </c:strRef>
          </c:tx>
          <c:spPr>
            <a:solidFill>
              <a:schemeClr val="accent1"/>
            </a:solidFill>
            <a:ln w="9525">
              <a:solidFill>
                <a:schemeClr val="accent1"/>
              </a:solidFill>
            </a:ln>
            <a:effectLst/>
          </c:spPr>
          <c:invertIfNegative val="0"/>
          <c:dPt>
            <c:idx val="0"/>
            <c:invertIfNegative val="0"/>
            <c:bubble3D val="0"/>
            <c:extLst>
              <c:ext xmlns:c16="http://schemas.microsoft.com/office/drawing/2014/chart" uri="{C3380CC4-5D6E-409C-BE32-E72D297353CC}">
                <c16:uniqueId val="{00000000-16EB-4CE6-AD89-C27E13A7E0C1}"/>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18</c:f>
              <c:numCache>
                <c:formatCode>General</c:formatCode>
                <c:ptCount val="17"/>
                <c:pt idx="0">
                  <c:v>2021</c:v>
                </c:pt>
                <c:pt idx="1">
                  <c:v>2022</c:v>
                </c:pt>
                <c:pt idx="2">
                  <c:v>2023</c:v>
                </c:pt>
                <c:pt idx="3">
                  <c:v>2024</c:v>
                </c:pt>
                <c:pt idx="4">
                  <c:v>2025</c:v>
                </c:pt>
                <c:pt idx="6">
                  <c:v>2021</c:v>
                </c:pt>
                <c:pt idx="7">
                  <c:v>2022</c:v>
                </c:pt>
                <c:pt idx="8">
                  <c:v>2023</c:v>
                </c:pt>
                <c:pt idx="9">
                  <c:v>2024</c:v>
                </c:pt>
                <c:pt idx="10">
                  <c:v>2025</c:v>
                </c:pt>
                <c:pt idx="12">
                  <c:v>2021</c:v>
                </c:pt>
                <c:pt idx="13">
                  <c:v>2022</c:v>
                </c:pt>
                <c:pt idx="14">
                  <c:v>2023</c:v>
                </c:pt>
                <c:pt idx="15">
                  <c:v>2024</c:v>
                </c:pt>
                <c:pt idx="16">
                  <c:v>2025</c:v>
                </c:pt>
              </c:numCache>
            </c:numRef>
          </c:cat>
          <c:val>
            <c:numRef>
              <c:f>Sheet1!$C$2:$C$18</c:f>
              <c:numCache>
                <c:formatCode>0.0%</c:formatCode>
                <c:ptCount val="17"/>
                <c:pt idx="0">
                  <c:v>0.57552284683470611</c:v>
                </c:pt>
                <c:pt idx="1">
                  <c:v>0.62974285455303269</c:v>
                </c:pt>
                <c:pt idx="2">
                  <c:v>0.64639424479575469</c:v>
                </c:pt>
                <c:pt idx="3">
                  <c:v>0.65798533423135808</c:v>
                </c:pt>
                <c:pt idx="4">
                  <c:v>0.66235704323785305</c:v>
                </c:pt>
              </c:numCache>
            </c:numRef>
          </c:val>
          <c:extLst>
            <c:ext xmlns:c16="http://schemas.microsoft.com/office/drawing/2014/chart" uri="{C3380CC4-5D6E-409C-BE32-E72D297353CC}">
              <c16:uniqueId val="{00000001-16EB-4CE6-AD89-C27E13A7E0C1}"/>
            </c:ext>
          </c:extLst>
        </c:ser>
        <c:ser>
          <c:idx val="1"/>
          <c:order val="1"/>
          <c:tx>
            <c:strRef>
              <c:f>Sheet1!$D$1</c:f>
              <c:strCache>
                <c:ptCount val="1"/>
                <c:pt idx="0">
                  <c:v>ADR</c:v>
                </c:pt>
              </c:strCache>
            </c:strRef>
          </c:tx>
          <c:spPr>
            <a:solidFill>
              <a:schemeClr val="accent2"/>
            </a:solidFill>
            <a:ln w="9525">
              <a:solidFill>
                <a:schemeClr val="accent2"/>
              </a:solidFill>
            </a:ln>
            <a:effectLst/>
          </c:spPr>
          <c:invertIfNegative val="0"/>
          <c:dPt>
            <c:idx val="5"/>
            <c:invertIfNegative val="0"/>
            <c:bubble3D val="0"/>
            <c:spPr>
              <a:solidFill>
                <a:srgbClr val="0863B5"/>
              </a:solidFill>
              <a:ln w="9525">
                <a:solidFill>
                  <a:schemeClr val="accent2"/>
                </a:solidFill>
              </a:ln>
              <a:effectLst/>
            </c:spPr>
            <c:extLst>
              <c:ext xmlns:c16="http://schemas.microsoft.com/office/drawing/2014/chart" uri="{C3380CC4-5D6E-409C-BE32-E72D297353CC}">
                <c16:uniqueId val="{00000003-16EB-4CE6-AD89-C27E13A7E0C1}"/>
              </c:ext>
            </c:extLst>
          </c:dPt>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18</c:f>
              <c:numCache>
                <c:formatCode>General</c:formatCode>
                <c:ptCount val="17"/>
                <c:pt idx="0">
                  <c:v>2021</c:v>
                </c:pt>
                <c:pt idx="1">
                  <c:v>2022</c:v>
                </c:pt>
                <c:pt idx="2">
                  <c:v>2023</c:v>
                </c:pt>
                <c:pt idx="3">
                  <c:v>2024</c:v>
                </c:pt>
                <c:pt idx="4">
                  <c:v>2025</c:v>
                </c:pt>
                <c:pt idx="6">
                  <c:v>2021</c:v>
                </c:pt>
                <c:pt idx="7">
                  <c:v>2022</c:v>
                </c:pt>
                <c:pt idx="8">
                  <c:v>2023</c:v>
                </c:pt>
                <c:pt idx="9">
                  <c:v>2024</c:v>
                </c:pt>
                <c:pt idx="10">
                  <c:v>2025</c:v>
                </c:pt>
                <c:pt idx="12">
                  <c:v>2021</c:v>
                </c:pt>
                <c:pt idx="13">
                  <c:v>2022</c:v>
                </c:pt>
                <c:pt idx="14">
                  <c:v>2023</c:v>
                </c:pt>
                <c:pt idx="15">
                  <c:v>2024</c:v>
                </c:pt>
                <c:pt idx="16">
                  <c:v>2025</c:v>
                </c:pt>
              </c:numCache>
            </c:numRef>
          </c:cat>
          <c:val>
            <c:numRef>
              <c:f>Sheet1!$D$2:$D$18</c:f>
              <c:numCache>
                <c:formatCode>General</c:formatCode>
                <c:ptCount val="17"/>
              </c:numCache>
            </c:numRef>
          </c:val>
          <c:extLst xmlns:c15="http://schemas.microsoft.com/office/drawing/2012/chart">
            <c:ext xmlns:c16="http://schemas.microsoft.com/office/drawing/2014/chart" uri="{C3380CC4-5D6E-409C-BE32-E72D297353CC}">
              <c16:uniqueId val="{00000004-16EB-4CE6-AD89-C27E13A7E0C1}"/>
            </c:ext>
          </c:extLst>
        </c:ser>
        <c:ser>
          <c:idx val="3"/>
          <c:order val="2"/>
          <c:tx>
            <c:strRef>
              <c:f>Sheet1!$E$1</c:f>
              <c:strCache>
                <c:ptCount val="1"/>
                <c:pt idx="0">
                  <c:v>RevPAR</c:v>
                </c:pt>
              </c:strCache>
            </c:strRef>
          </c:tx>
          <c:spPr>
            <a:solidFill>
              <a:schemeClr val="accent3"/>
            </a:solidFill>
            <a:ln w="9525">
              <a:solidFill>
                <a:schemeClr val="accent3"/>
              </a:solidFill>
            </a:ln>
            <a:effectLst/>
          </c:spPr>
          <c:invertIfNegative val="0"/>
          <c:dPt>
            <c:idx val="10"/>
            <c:invertIfNegative val="0"/>
            <c:bubble3D val="0"/>
            <c:extLst>
              <c:ext xmlns:c16="http://schemas.microsoft.com/office/drawing/2014/chart" uri="{C3380CC4-5D6E-409C-BE32-E72D297353CC}">
                <c16:uniqueId val="{00000005-16EB-4CE6-AD89-C27E13A7E0C1}"/>
              </c:ext>
            </c:extLst>
          </c:dPt>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18</c:f>
              <c:numCache>
                <c:formatCode>General</c:formatCode>
                <c:ptCount val="17"/>
                <c:pt idx="0">
                  <c:v>2021</c:v>
                </c:pt>
                <c:pt idx="1">
                  <c:v>2022</c:v>
                </c:pt>
                <c:pt idx="2">
                  <c:v>2023</c:v>
                </c:pt>
                <c:pt idx="3">
                  <c:v>2024</c:v>
                </c:pt>
                <c:pt idx="4">
                  <c:v>2025</c:v>
                </c:pt>
                <c:pt idx="6">
                  <c:v>2021</c:v>
                </c:pt>
                <c:pt idx="7">
                  <c:v>2022</c:v>
                </c:pt>
                <c:pt idx="8">
                  <c:v>2023</c:v>
                </c:pt>
                <c:pt idx="9">
                  <c:v>2024</c:v>
                </c:pt>
                <c:pt idx="10">
                  <c:v>2025</c:v>
                </c:pt>
                <c:pt idx="12">
                  <c:v>2021</c:v>
                </c:pt>
                <c:pt idx="13">
                  <c:v>2022</c:v>
                </c:pt>
                <c:pt idx="14">
                  <c:v>2023</c:v>
                </c:pt>
                <c:pt idx="15">
                  <c:v>2024</c:v>
                </c:pt>
                <c:pt idx="16">
                  <c:v>2025</c:v>
                </c:pt>
              </c:numCache>
            </c:numRef>
          </c:cat>
          <c:val>
            <c:numRef>
              <c:f>Sheet1!$E$2:$E$18</c:f>
              <c:numCache>
                <c:formatCode>General</c:formatCode>
                <c:ptCount val="17"/>
              </c:numCache>
            </c:numRef>
          </c:val>
          <c:extLst>
            <c:ext xmlns:c16="http://schemas.microsoft.com/office/drawing/2014/chart" uri="{C3380CC4-5D6E-409C-BE32-E72D297353CC}">
              <c16:uniqueId val="{00000006-16EB-4CE6-AD89-C27E13A7E0C1}"/>
            </c:ext>
          </c:extLst>
        </c:ser>
        <c:dLbls>
          <c:showLegendKey val="0"/>
          <c:showVal val="0"/>
          <c:showCatName val="0"/>
          <c:showSerName val="0"/>
          <c:showPercent val="0"/>
          <c:showBubbleSize val="0"/>
        </c:dLbls>
        <c:gapWidth val="60"/>
        <c:overlap val="100"/>
        <c:axId val="415531200"/>
        <c:axId val="415533552"/>
        <c:extLst/>
      </c:barChart>
      <c:catAx>
        <c:axId val="415531200"/>
        <c:scaling>
          <c:orientation val="minMax"/>
        </c:scaling>
        <c:delete val="1"/>
        <c:axPos val="b"/>
        <c:numFmt formatCode="General" sourceLinked="0"/>
        <c:majorTickMark val="out"/>
        <c:minorTickMark val="none"/>
        <c:tickLblPos val="nextTo"/>
        <c:crossAx val="415533552"/>
        <c:crosses val="autoZero"/>
        <c:auto val="0"/>
        <c:lblAlgn val="ctr"/>
        <c:lblOffset val="100"/>
        <c:tickLblSkip val="1"/>
        <c:noMultiLvlLbl val="0"/>
      </c:catAx>
      <c:valAx>
        <c:axId val="415533552"/>
        <c:scaling>
          <c:orientation val="minMax"/>
        </c:scaling>
        <c:delete val="1"/>
        <c:axPos val="l"/>
        <c:numFmt formatCode="0%" sourceLinked="0"/>
        <c:majorTickMark val="out"/>
        <c:minorTickMark val="none"/>
        <c:tickLblPos val="nextTo"/>
        <c:crossAx val="415531200"/>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063889004225814E-2"/>
          <c:y val="7.8148216458177849E-2"/>
          <c:w val="0.96734700107691873"/>
          <c:h val="0.76062534967573669"/>
        </c:manualLayout>
      </c:layout>
      <c:barChart>
        <c:barDir val="col"/>
        <c:grouping val="clustered"/>
        <c:varyColors val="0"/>
        <c:ser>
          <c:idx val="0"/>
          <c:order val="0"/>
          <c:tx>
            <c:strRef>
              <c:f>Sheet1!$C$1</c:f>
              <c:strCache>
                <c:ptCount val="1"/>
                <c:pt idx="0">
                  <c:v>OCC</c:v>
                </c:pt>
              </c:strCache>
            </c:strRef>
          </c:tx>
          <c:spPr>
            <a:solidFill>
              <a:schemeClr val="accent1"/>
            </a:solidFill>
            <a:ln w="9525">
              <a:solidFill>
                <a:schemeClr val="accent1"/>
              </a:solidFill>
            </a:ln>
            <a:effectLst/>
          </c:spPr>
          <c:invertIfNegative val="0"/>
          <c:dPt>
            <c:idx val="0"/>
            <c:invertIfNegative val="0"/>
            <c:bubble3D val="0"/>
            <c:extLst>
              <c:ext xmlns:c16="http://schemas.microsoft.com/office/drawing/2014/chart" uri="{C3380CC4-5D6E-409C-BE32-E72D297353CC}">
                <c16:uniqueId val="{00000001-6E24-4C10-92A1-7FDE3B08B563}"/>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18</c:f>
              <c:numCache>
                <c:formatCode>General</c:formatCode>
                <c:ptCount val="17"/>
                <c:pt idx="0">
                  <c:v>2021</c:v>
                </c:pt>
                <c:pt idx="1">
                  <c:v>2022</c:v>
                </c:pt>
                <c:pt idx="2">
                  <c:v>2023</c:v>
                </c:pt>
                <c:pt idx="3">
                  <c:v>2024</c:v>
                </c:pt>
                <c:pt idx="4">
                  <c:v>2025</c:v>
                </c:pt>
                <c:pt idx="6">
                  <c:v>2021</c:v>
                </c:pt>
                <c:pt idx="7">
                  <c:v>2022</c:v>
                </c:pt>
                <c:pt idx="8">
                  <c:v>2023</c:v>
                </c:pt>
                <c:pt idx="9">
                  <c:v>2024</c:v>
                </c:pt>
                <c:pt idx="10">
                  <c:v>2025</c:v>
                </c:pt>
                <c:pt idx="12">
                  <c:v>2021</c:v>
                </c:pt>
                <c:pt idx="13">
                  <c:v>2022</c:v>
                </c:pt>
                <c:pt idx="14">
                  <c:v>2023</c:v>
                </c:pt>
                <c:pt idx="15">
                  <c:v>2024</c:v>
                </c:pt>
                <c:pt idx="16">
                  <c:v>2025</c:v>
                </c:pt>
              </c:numCache>
            </c:numRef>
          </c:cat>
          <c:val>
            <c:numRef>
              <c:f>Sheet1!$C$2:$C$18</c:f>
              <c:numCache>
                <c:formatCode>0.0_);[Red]\(0.0\)</c:formatCode>
                <c:ptCount val="17"/>
                <c:pt idx="0">
                  <c:v>87.29882040230126</c:v>
                </c:pt>
                <c:pt idx="1">
                  <c:v>95.523242320642638</c:v>
                </c:pt>
                <c:pt idx="2">
                  <c:v>98.049026890695529</c:v>
                </c:pt>
                <c:pt idx="3">
                  <c:v>99.807234128637504</c:v>
                </c:pt>
                <c:pt idx="4">
                  <c:v>100.47036165086902</c:v>
                </c:pt>
              </c:numCache>
            </c:numRef>
          </c:val>
          <c:extLst>
            <c:ext xmlns:c16="http://schemas.microsoft.com/office/drawing/2014/chart" uri="{C3380CC4-5D6E-409C-BE32-E72D297353CC}">
              <c16:uniqueId val="{00000002-6E24-4C10-92A1-7FDE3B08B563}"/>
            </c:ext>
          </c:extLst>
        </c:ser>
        <c:ser>
          <c:idx val="1"/>
          <c:order val="1"/>
          <c:tx>
            <c:strRef>
              <c:f>Sheet1!$D$1</c:f>
              <c:strCache>
                <c:ptCount val="1"/>
                <c:pt idx="0">
                  <c:v>Nominal ADR</c:v>
                </c:pt>
              </c:strCache>
            </c:strRef>
          </c:tx>
          <c:spPr>
            <a:solidFill>
              <a:schemeClr val="accent2">
                <a:lumMod val="60000"/>
                <a:lumOff val="40000"/>
              </a:schemeClr>
            </a:solidFill>
            <a:ln w="9525">
              <a:solidFill>
                <a:schemeClr val="accent2">
                  <a:lumMod val="60000"/>
                  <a:lumOff val="40000"/>
                </a:schemeClr>
              </a:solidFill>
            </a:ln>
            <a:effectLst/>
          </c:spPr>
          <c:invertIfNegative val="0"/>
          <c:dPt>
            <c:idx val="5"/>
            <c:invertIfNegative val="0"/>
            <c:bubble3D val="0"/>
            <c:spPr>
              <a:solidFill>
                <a:schemeClr val="accent2">
                  <a:lumMod val="60000"/>
                  <a:lumOff val="40000"/>
                </a:schemeClr>
              </a:solidFill>
              <a:ln w="9525">
                <a:solidFill>
                  <a:schemeClr val="accent2">
                    <a:lumMod val="60000"/>
                    <a:lumOff val="40000"/>
                  </a:schemeClr>
                </a:solidFill>
              </a:ln>
              <a:effectLst/>
            </c:spPr>
            <c:extLst>
              <c:ext xmlns:c16="http://schemas.microsoft.com/office/drawing/2014/chart" uri="{C3380CC4-5D6E-409C-BE32-E72D297353CC}">
                <c16:uniqueId val="{00000004-6E24-4C10-92A1-7FDE3B08B563}"/>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18</c:f>
              <c:numCache>
                <c:formatCode>General</c:formatCode>
                <c:ptCount val="17"/>
                <c:pt idx="0">
                  <c:v>2021</c:v>
                </c:pt>
                <c:pt idx="1">
                  <c:v>2022</c:v>
                </c:pt>
                <c:pt idx="2">
                  <c:v>2023</c:v>
                </c:pt>
                <c:pt idx="3">
                  <c:v>2024</c:v>
                </c:pt>
                <c:pt idx="4">
                  <c:v>2025</c:v>
                </c:pt>
                <c:pt idx="6">
                  <c:v>2021</c:v>
                </c:pt>
                <c:pt idx="7">
                  <c:v>2022</c:v>
                </c:pt>
                <c:pt idx="8">
                  <c:v>2023</c:v>
                </c:pt>
                <c:pt idx="9">
                  <c:v>2024</c:v>
                </c:pt>
                <c:pt idx="10">
                  <c:v>2025</c:v>
                </c:pt>
                <c:pt idx="12">
                  <c:v>2021</c:v>
                </c:pt>
                <c:pt idx="13">
                  <c:v>2022</c:v>
                </c:pt>
                <c:pt idx="14">
                  <c:v>2023</c:v>
                </c:pt>
                <c:pt idx="15">
                  <c:v>2024</c:v>
                </c:pt>
                <c:pt idx="16">
                  <c:v>2025</c:v>
                </c:pt>
              </c:numCache>
            </c:numRef>
          </c:cat>
          <c:val>
            <c:numRef>
              <c:f>Sheet1!$D$2:$D$18</c:f>
              <c:numCache>
                <c:formatCode>General</c:formatCode>
                <c:ptCount val="17"/>
                <c:pt idx="6" formatCode="0.0_);[Red]\(0.0\)">
                  <c:v>95.288672970185047</c:v>
                </c:pt>
                <c:pt idx="7" formatCode="0.0_);[Red]\(0.0\)">
                  <c:v>112.76874169349227</c:v>
                </c:pt>
                <c:pt idx="8" formatCode="0.0_);[Red]\(0.0\)">
                  <c:v>116.1012069155247</c:v>
                </c:pt>
                <c:pt idx="9" formatCode="0.0_);[Red]\(0.0\)">
                  <c:v>119.73875218988603</c:v>
                </c:pt>
                <c:pt idx="10" formatCode="0.0_);[Red]\(0.0\)">
                  <c:v>122.86826072563541</c:v>
                </c:pt>
              </c:numCache>
            </c:numRef>
          </c:val>
          <c:extLst xmlns:c15="http://schemas.microsoft.com/office/drawing/2012/chart">
            <c:ext xmlns:c16="http://schemas.microsoft.com/office/drawing/2014/chart" uri="{C3380CC4-5D6E-409C-BE32-E72D297353CC}">
              <c16:uniqueId val="{00000005-6E24-4C10-92A1-7FDE3B08B563}"/>
            </c:ext>
          </c:extLst>
        </c:ser>
        <c:ser>
          <c:idx val="2"/>
          <c:order val="2"/>
          <c:tx>
            <c:strRef>
              <c:f>Sheet1!$E$1</c:f>
              <c:strCache>
                <c:ptCount val="1"/>
                <c:pt idx="0">
                  <c:v>Real ADR</c:v>
                </c:pt>
              </c:strCache>
            </c:strRef>
          </c:tx>
          <c:spPr>
            <a:solidFill>
              <a:schemeClr val="accent2"/>
            </a:solidFill>
            <a:ln w="9525">
              <a:solidFill>
                <a:schemeClr val="accent2"/>
              </a:solidFill>
            </a:ln>
            <a:effectLst/>
          </c:spPr>
          <c:invertIfNegative val="0"/>
          <c:dPt>
            <c:idx val="5"/>
            <c:invertIfNegative val="0"/>
            <c:bubble3D val="0"/>
            <c:extLst>
              <c:ext xmlns:c16="http://schemas.microsoft.com/office/drawing/2014/chart" uri="{C3380CC4-5D6E-409C-BE32-E72D297353CC}">
                <c16:uniqueId val="{00000007-6E24-4C10-92A1-7FDE3B08B563}"/>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18</c:f>
              <c:numCache>
                <c:formatCode>General</c:formatCode>
                <c:ptCount val="17"/>
                <c:pt idx="0">
                  <c:v>2021</c:v>
                </c:pt>
                <c:pt idx="1">
                  <c:v>2022</c:v>
                </c:pt>
                <c:pt idx="2">
                  <c:v>2023</c:v>
                </c:pt>
                <c:pt idx="3">
                  <c:v>2024</c:v>
                </c:pt>
                <c:pt idx="4">
                  <c:v>2025</c:v>
                </c:pt>
                <c:pt idx="6">
                  <c:v>2021</c:v>
                </c:pt>
                <c:pt idx="7">
                  <c:v>2022</c:v>
                </c:pt>
                <c:pt idx="8">
                  <c:v>2023</c:v>
                </c:pt>
                <c:pt idx="9">
                  <c:v>2024</c:v>
                </c:pt>
                <c:pt idx="10">
                  <c:v>2025</c:v>
                </c:pt>
                <c:pt idx="12">
                  <c:v>2021</c:v>
                </c:pt>
                <c:pt idx="13">
                  <c:v>2022</c:v>
                </c:pt>
                <c:pt idx="14">
                  <c:v>2023</c:v>
                </c:pt>
                <c:pt idx="15">
                  <c:v>2024</c:v>
                </c:pt>
                <c:pt idx="16">
                  <c:v>2025</c:v>
                </c:pt>
              </c:numCache>
            </c:numRef>
          </c:cat>
          <c:val>
            <c:numRef>
              <c:f>Sheet1!$E$2:$E$18</c:f>
              <c:numCache>
                <c:formatCode>General</c:formatCode>
                <c:ptCount val="17"/>
                <c:pt idx="6" formatCode="0.0">
                  <c:v>89.901277797644781</c:v>
                </c:pt>
                <c:pt idx="7" formatCode="0.0">
                  <c:v>99.059646132499395</c:v>
                </c:pt>
                <c:pt idx="8" formatCode="0.0">
                  <c:v>99.970608110319617</c:v>
                </c:pt>
                <c:pt idx="9" formatCode="0.0">
                  <c:v>101.37169916662043</c:v>
                </c:pt>
                <c:pt idx="10" formatCode="0.0">
                  <c:v>101.99126844116077</c:v>
                </c:pt>
              </c:numCache>
            </c:numRef>
          </c:val>
          <c:extLst>
            <c:ext xmlns:c16="http://schemas.microsoft.com/office/drawing/2014/chart" uri="{C3380CC4-5D6E-409C-BE32-E72D297353CC}">
              <c16:uniqueId val="{00000008-6E24-4C10-92A1-7FDE3B08B563}"/>
            </c:ext>
          </c:extLst>
        </c:ser>
        <c:ser>
          <c:idx val="3"/>
          <c:order val="3"/>
          <c:tx>
            <c:strRef>
              <c:f>Sheet1!$F$1</c:f>
              <c:strCache>
                <c:ptCount val="1"/>
                <c:pt idx="0">
                  <c:v>Nominal RevPAR</c:v>
                </c:pt>
              </c:strCache>
            </c:strRef>
          </c:tx>
          <c:spPr>
            <a:solidFill>
              <a:schemeClr val="accent3">
                <a:lumMod val="60000"/>
                <a:lumOff val="40000"/>
              </a:schemeClr>
            </a:solidFill>
            <a:ln w="9525">
              <a:solidFill>
                <a:schemeClr val="accent3">
                  <a:lumMod val="60000"/>
                  <a:lumOff val="40000"/>
                </a:schemeClr>
              </a:solidFill>
            </a:ln>
            <a:effectLst/>
          </c:spPr>
          <c:invertIfNegative val="0"/>
          <c:dPt>
            <c:idx val="10"/>
            <c:invertIfNegative val="0"/>
            <c:bubble3D val="0"/>
            <c:extLst>
              <c:ext xmlns:c16="http://schemas.microsoft.com/office/drawing/2014/chart" uri="{C3380CC4-5D6E-409C-BE32-E72D297353CC}">
                <c16:uniqueId val="{0000000A-6E24-4C10-92A1-7FDE3B08B563}"/>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18</c:f>
              <c:numCache>
                <c:formatCode>General</c:formatCode>
                <c:ptCount val="17"/>
                <c:pt idx="0">
                  <c:v>2021</c:v>
                </c:pt>
                <c:pt idx="1">
                  <c:v>2022</c:v>
                </c:pt>
                <c:pt idx="2">
                  <c:v>2023</c:v>
                </c:pt>
                <c:pt idx="3">
                  <c:v>2024</c:v>
                </c:pt>
                <c:pt idx="4">
                  <c:v>2025</c:v>
                </c:pt>
                <c:pt idx="6">
                  <c:v>2021</c:v>
                </c:pt>
                <c:pt idx="7">
                  <c:v>2022</c:v>
                </c:pt>
                <c:pt idx="8">
                  <c:v>2023</c:v>
                </c:pt>
                <c:pt idx="9">
                  <c:v>2024</c:v>
                </c:pt>
                <c:pt idx="10">
                  <c:v>2025</c:v>
                </c:pt>
                <c:pt idx="12">
                  <c:v>2021</c:v>
                </c:pt>
                <c:pt idx="13">
                  <c:v>2022</c:v>
                </c:pt>
                <c:pt idx="14">
                  <c:v>2023</c:v>
                </c:pt>
                <c:pt idx="15">
                  <c:v>2024</c:v>
                </c:pt>
                <c:pt idx="16">
                  <c:v>2025</c:v>
                </c:pt>
              </c:numCache>
            </c:numRef>
          </c:cat>
          <c:val>
            <c:numRef>
              <c:f>Sheet1!$F$2:$F$18</c:f>
              <c:numCache>
                <c:formatCode>General</c:formatCode>
                <c:ptCount val="17"/>
                <c:pt idx="12" formatCode="0.0_);[Red]\(0.0\)">
                  <c:v>83.185887479978021</c:v>
                </c:pt>
                <c:pt idx="13" formatCode="0.0_);[Red]\(0.0\)">
                  <c:v>107.72035838981418</c:v>
                </c:pt>
                <c:pt idx="14" formatCode="0.0_);[Red]\(0.0\)">
                  <c:v>113.83610358902484</c:v>
                </c:pt>
                <c:pt idx="15" formatCode="0.0_);[Red]\(0.0\)">
                  <c:v>119.50793674086864</c:v>
                </c:pt>
                <c:pt idx="16" formatCode="0.0_);[Red]\(0.0\)">
                  <c:v>123.44618590517855</c:v>
                </c:pt>
              </c:numCache>
            </c:numRef>
          </c:val>
          <c:extLst>
            <c:ext xmlns:c16="http://schemas.microsoft.com/office/drawing/2014/chart" uri="{C3380CC4-5D6E-409C-BE32-E72D297353CC}">
              <c16:uniqueId val="{0000000B-6E24-4C10-92A1-7FDE3B08B563}"/>
            </c:ext>
          </c:extLst>
        </c:ser>
        <c:ser>
          <c:idx val="4"/>
          <c:order val="4"/>
          <c:tx>
            <c:strRef>
              <c:f>Sheet1!$G$1</c:f>
              <c:strCache>
                <c:ptCount val="1"/>
                <c:pt idx="0">
                  <c:v>Real RevPAR</c:v>
                </c:pt>
              </c:strCache>
            </c:strRef>
          </c:tx>
          <c:spPr>
            <a:solidFill>
              <a:schemeClr val="accent3"/>
            </a:solidFill>
            <a:ln w="9525">
              <a:solidFill>
                <a:schemeClr val="accent3"/>
              </a:solidFill>
            </a:ln>
            <a:effectLst/>
          </c:spPr>
          <c:invertIfNegative val="0"/>
          <c:dPt>
            <c:idx val="10"/>
            <c:invertIfNegative val="0"/>
            <c:bubble3D val="0"/>
            <c:extLst>
              <c:ext xmlns:c16="http://schemas.microsoft.com/office/drawing/2014/chart" uri="{C3380CC4-5D6E-409C-BE32-E72D297353CC}">
                <c16:uniqueId val="{0000000D-6E24-4C10-92A1-7FDE3B08B563}"/>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18</c:f>
              <c:numCache>
                <c:formatCode>General</c:formatCode>
                <c:ptCount val="17"/>
                <c:pt idx="0">
                  <c:v>2021</c:v>
                </c:pt>
                <c:pt idx="1">
                  <c:v>2022</c:v>
                </c:pt>
                <c:pt idx="2">
                  <c:v>2023</c:v>
                </c:pt>
                <c:pt idx="3">
                  <c:v>2024</c:v>
                </c:pt>
                <c:pt idx="4">
                  <c:v>2025</c:v>
                </c:pt>
                <c:pt idx="6">
                  <c:v>2021</c:v>
                </c:pt>
                <c:pt idx="7">
                  <c:v>2022</c:v>
                </c:pt>
                <c:pt idx="8">
                  <c:v>2023</c:v>
                </c:pt>
                <c:pt idx="9">
                  <c:v>2024</c:v>
                </c:pt>
                <c:pt idx="10">
                  <c:v>2025</c:v>
                </c:pt>
                <c:pt idx="12">
                  <c:v>2021</c:v>
                </c:pt>
                <c:pt idx="13">
                  <c:v>2022</c:v>
                </c:pt>
                <c:pt idx="14">
                  <c:v>2023</c:v>
                </c:pt>
                <c:pt idx="15">
                  <c:v>2024</c:v>
                </c:pt>
                <c:pt idx="16">
                  <c:v>2025</c:v>
                </c:pt>
              </c:numCache>
            </c:numRef>
          </c:cat>
          <c:val>
            <c:numRef>
              <c:f>Sheet1!$G$2:$G$18</c:f>
              <c:numCache>
                <c:formatCode>General</c:formatCode>
                <c:ptCount val="17"/>
                <c:pt idx="12" formatCode="0.0">
                  <c:v>78.482755043939861</c:v>
                </c:pt>
                <c:pt idx="13" formatCode="0.0">
                  <c:v>94.6249858171185</c:v>
                </c:pt>
                <c:pt idx="14" formatCode="0.0">
                  <c:v>98.020208428879101</c:v>
                </c:pt>
                <c:pt idx="15" formatCode="0.0">
                  <c:v>101.17628912740693</c:v>
                </c:pt>
                <c:pt idx="16" formatCode="0.0">
                  <c:v>102.47099625514286</c:v>
                </c:pt>
              </c:numCache>
            </c:numRef>
          </c:val>
          <c:extLst>
            <c:ext xmlns:c16="http://schemas.microsoft.com/office/drawing/2014/chart" uri="{C3380CC4-5D6E-409C-BE32-E72D297353CC}">
              <c16:uniqueId val="{0000000E-6E24-4C10-92A1-7FDE3B08B563}"/>
            </c:ext>
          </c:extLst>
        </c:ser>
        <c:dLbls>
          <c:showLegendKey val="0"/>
          <c:showVal val="0"/>
          <c:showCatName val="0"/>
          <c:showSerName val="0"/>
          <c:showPercent val="0"/>
          <c:showBubbleSize val="0"/>
        </c:dLbls>
        <c:gapWidth val="60"/>
        <c:overlap val="100"/>
        <c:axId val="415531200"/>
        <c:axId val="415533552"/>
        <c:extLst/>
      </c:barChart>
      <c:catAx>
        <c:axId val="415531200"/>
        <c:scaling>
          <c:orientation val="minMax"/>
        </c:scaling>
        <c:delete val="0"/>
        <c:axPos val="b"/>
        <c:numFmt formatCode="General" sourceLinked="0"/>
        <c:majorTickMark val="none"/>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1400" b="1" i="0" u="none" strike="noStrike" kern="1200" baseline="0">
                <a:solidFill>
                  <a:schemeClr val="tx1"/>
                </a:solidFill>
                <a:latin typeface="+mn-lt"/>
                <a:ea typeface="+mn-ea"/>
                <a:cs typeface="+mn-cs"/>
              </a:defRPr>
            </a:pPr>
            <a:endParaRPr lang="en-US"/>
          </a:p>
        </c:txPr>
        <c:crossAx val="415533552"/>
        <c:crosses val="autoZero"/>
        <c:auto val="0"/>
        <c:lblAlgn val="ctr"/>
        <c:lblOffset val="100"/>
        <c:tickLblSkip val="1"/>
        <c:noMultiLvlLbl val="0"/>
      </c:catAx>
      <c:valAx>
        <c:axId val="415533552"/>
        <c:scaling>
          <c:orientation val="minMax"/>
          <c:min val="70"/>
        </c:scaling>
        <c:delete val="1"/>
        <c:axPos val="l"/>
        <c:numFmt formatCode="0" sourceLinked="0"/>
        <c:majorTickMark val="out"/>
        <c:minorTickMark val="none"/>
        <c:tickLblPos val="nextTo"/>
        <c:crossAx val="415531200"/>
        <c:crosses val="autoZero"/>
        <c:crossBetween val="between"/>
      </c:valAx>
      <c:spPr>
        <a:noFill/>
        <a:ln w="25400">
          <a:noFill/>
        </a:ln>
        <a:effectLst/>
      </c:spPr>
    </c:plotArea>
    <c:legend>
      <c:legendPos val="t"/>
      <c:legendEntry>
        <c:idx val="0"/>
        <c:delete val="1"/>
      </c:legendEntry>
      <c:layout>
        <c:manualLayout>
          <c:xMode val="edge"/>
          <c:yMode val="edge"/>
          <c:x val="0.44494072131298867"/>
          <c:y val="0.93470156119267545"/>
          <c:w val="0.43181263339396775"/>
          <c:h val="5.7268484638947341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5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39032620922384E-2"/>
          <c:y val="0.14561737339606237"/>
          <c:w val="0.91255073115860519"/>
          <c:h val="0.72840084104600478"/>
        </c:manualLayout>
      </c:layout>
      <c:lineChart>
        <c:grouping val="standard"/>
        <c:varyColors val="0"/>
        <c:ser>
          <c:idx val="0"/>
          <c:order val="0"/>
          <c:tx>
            <c:strRef>
              <c:f>Sheet1!$B$1</c:f>
              <c:strCache>
                <c:ptCount val="1"/>
                <c:pt idx="0">
                  <c:v>Business</c:v>
                </c:pt>
              </c:strCache>
            </c:strRef>
          </c:tx>
          <c:spPr>
            <a:ln w="28575" cap="rnd">
              <a:solidFill>
                <a:schemeClr val="accent4">
                  <a:lumMod val="25000"/>
                  <a:lumOff val="75000"/>
                </a:schemeClr>
              </a:solidFill>
              <a:round/>
            </a:ln>
            <a:effectLst/>
          </c:spPr>
          <c:marker>
            <c:symbol val="none"/>
          </c:marker>
          <c:cat>
            <c:strRef>
              <c:f>Sheet1!$A$2:$A$18</c:f>
              <c:strCache>
                <c:ptCount val="17"/>
                <c:pt idx="0">
                  <c:v>2019</c:v>
                </c:pt>
                <c:pt idx="1">
                  <c:v>1Q20</c:v>
                </c:pt>
                <c:pt idx="2">
                  <c:v>2Q20</c:v>
                </c:pt>
                <c:pt idx="3">
                  <c:v>3Q20</c:v>
                </c:pt>
                <c:pt idx="4">
                  <c:v>4Q20</c:v>
                </c:pt>
                <c:pt idx="5">
                  <c:v>1Q21</c:v>
                </c:pt>
                <c:pt idx="6">
                  <c:v>2Q21</c:v>
                </c:pt>
                <c:pt idx="7">
                  <c:v>3Q21</c:v>
                </c:pt>
                <c:pt idx="8">
                  <c:v>4Q21</c:v>
                </c:pt>
                <c:pt idx="9">
                  <c:v>1Q22</c:v>
                </c:pt>
                <c:pt idx="10">
                  <c:v>2Q22</c:v>
                </c:pt>
                <c:pt idx="11">
                  <c:v>3Q22</c:v>
                </c:pt>
                <c:pt idx="12">
                  <c:v>4Q22</c:v>
                </c:pt>
                <c:pt idx="13">
                  <c:v>1Q23</c:v>
                </c:pt>
                <c:pt idx="14">
                  <c:v>2Q23</c:v>
                </c:pt>
                <c:pt idx="15">
                  <c:v>3Q23</c:v>
                </c:pt>
                <c:pt idx="16">
                  <c:v>4Q23</c:v>
                </c:pt>
              </c:strCache>
            </c:strRef>
          </c:cat>
          <c:val>
            <c:numRef>
              <c:f>Sheet1!$B$2:$B$18</c:f>
              <c:numCache>
                <c:formatCode>0.0</c:formatCode>
                <c:ptCount val="17"/>
                <c:pt idx="0" formatCode="#,##0.0">
                  <c:v>100</c:v>
                </c:pt>
                <c:pt idx="1">
                  <c:v>86.998968770369402</c:v>
                </c:pt>
                <c:pt idx="2">
                  <c:v>41.201445744244026</c:v>
                </c:pt>
                <c:pt idx="3">
                  <c:v>50.820464598591641</c:v>
                </c:pt>
                <c:pt idx="4">
                  <c:v>55.519212126151885</c:v>
                </c:pt>
                <c:pt idx="5">
                  <c:v>64.467350208576178</c:v>
                </c:pt>
                <c:pt idx="6">
                  <c:v>72.539695209726474</c:v>
                </c:pt>
                <c:pt idx="7">
                  <c:v>77.111218694797444</c:v>
                </c:pt>
                <c:pt idx="8">
                  <c:v>80.447318651159222</c:v>
                </c:pt>
                <c:pt idx="9">
                  <c:v>81.596544245614538</c:v>
                </c:pt>
                <c:pt idx="10">
                  <c:v>87.940883087971116</c:v>
                </c:pt>
                <c:pt idx="11">
                  <c:v>89.733577243097173</c:v>
                </c:pt>
                <c:pt idx="12">
                  <c:v>94.245105038816007</c:v>
                </c:pt>
                <c:pt idx="13">
                  <c:v>95.999999999999986</c:v>
                </c:pt>
                <c:pt idx="14">
                  <c:v>97.000000000000014</c:v>
                </c:pt>
                <c:pt idx="15">
                  <c:v>98</c:v>
                </c:pt>
                <c:pt idx="16">
                  <c:v>98.999999999999986</c:v>
                </c:pt>
              </c:numCache>
            </c:numRef>
          </c:val>
          <c:smooth val="1"/>
          <c:extLst>
            <c:ext xmlns:c16="http://schemas.microsoft.com/office/drawing/2014/chart" uri="{C3380CC4-5D6E-409C-BE32-E72D297353CC}">
              <c16:uniqueId val="{00000000-DEF1-48A1-AAE1-5462524E9B0B}"/>
            </c:ext>
          </c:extLst>
        </c:ser>
        <c:ser>
          <c:idx val="1"/>
          <c:order val="1"/>
          <c:tx>
            <c:strRef>
              <c:f>Sheet1!$C$1</c:f>
              <c:strCache>
                <c:ptCount val="1"/>
                <c:pt idx="0">
                  <c:v>Leisure</c:v>
                </c:pt>
              </c:strCache>
            </c:strRef>
          </c:tx>
          <c:spPr>
            <a:ln w="28575" cap="rnd">
              <a:solidFill>
                <a:schemeClr val="accent4"/>
              </a:solidFill>
              <a:round/>
            </a:ln>
            <a:effectLst/>
          </c:spPr>
          <c:marker>
            <c:symbol val="square"/>
            <c:size val="8"/>
            <c:spPr>
              <a:solidFill>
                <a:schemeClr val="accent4"/>
              </a:solidFill>
              <a:ln w="9525">
                <a:solidFill>
                  <a:schemeClr val="accent4"/>
                </a:solidFill>
              </a:ln>
              <a:effectLst/>
            </c:spPr>
          </c:marker>
          <c:cat>
            <c:strRef>
              <c:f>Sheet1!$A$2:$A$18</c:f>
              <c:strCache>
                <c:ptCount val="17"/>
                <c:pt idx="0">
                  <c:v>2019</c:v>
                </c:pt>
                <c:pt idx="1">
                  <c:v>1Q20</c:v>
                </c:pt>
                <c:pt idx="2">
                  <c:v>2Q20</c:v>
                </c:pt>
                <c:pt idx="3">
                  <c:v>3Q20</c:v>
                </c:pt>
                <c:pt idx="4">
                  <c:v>4Q20</c:v>
                </c:pt>
                <c:pt idx="5">
                  <c:v>1Q21</c:v>
                </c:pt>
                <c:pt idx="6">
                  <c:v>2Q21</c:v>
                </c:pt>
                <c:pt idx="7">
                  <c:v>3Q21</c:v>
                </c:pt>
                <c:pt idx="8">
                  <c:v>4Q21</c:v>
                </c:pt>
                <c:pt idx="9">
                  <c:v>1Q22</c:v>
                </c:pt>
                <c:pt idx="10">
                  <c:v>2Q22</c:v>
                </c:pt>
                <c:pt idx="11">
                  <c:v>3Q22</c:v>
                </c:pt>
                <c:pt idx="12">
                  <c:v>4Q22</c:v>
                </c:pt>
                <c:pt idx="13">
                  <c:v>1Q23</c:v>
                </c:pt>
                <c:pt idx="14">
                  <c:v>2Q23</c:v>
                </c:pt>
                <c:pt idx="15">
                  <c:v>3Q23</c:v>
                </c:pt>
                <c:pt idx="16">
                  <c:v>4Q23</c:v>
                </c:pt>
              </c:strCache>
            </c:strRef>
          </c:cat>
          <c:val>
            <c:numRef>
              <c:f>Sheet1!$C$2:$C$18</c:f>
              <c:numCache>
                <c:formatCode>0.0</c:formatCode>
                <c:ptCount val="17"/>
                <c:pt idx="0" formatCode="#,##0.0">
                  <c:v>100</c:v>
                </c:pt>
                <c:pt idx="1">
                  <c:v>85.889767474012217</c:v>
                </c:pt>
                <c:pt idx="2">
                  <c:v>55.923963939330498</c:v>
                </c:pt>
                <c:pt idx="3">
                  <c:v>81.233554552199095</c:v>
                </c:pt>
                <c:pt idx="4">
                  <c:v>83.836962043465505</c:v>
                </c:pt>
                <c:pt idx="5">
                  <c:v>107.18695641291799</c:v>
                </c:pt>
                <c:pt idx="6">
                  <c:v>118.36733156328374</c:v>
                </c:pt>
                <c:pt idx="7">
                  <c:v>107.27204300765474</c:v>
                </c:pt>
                <c:pt idx="8">
                  <c:v>111.80992370256942</c:v>
                </c:pt>
                <c:pt idx="9">
                  <c:v>118.2525660711712</c:v>
                </c:pt>
                <c:pt idx="10">
                  <c:v>109.2100295715432</c:v>
                </c:pt>
                <c:pt idx="11">
                  <c:v>105.75154665237459</c:v>
                </c:pt>
                <c:pt idx="12">
                  <c:v>106.82108268930892</c:v>
                </c:pt>
                <c:pt idx="13">
                  <c:v>109.72758111913414</c:v>
                </c:pt>
                <c:pt idx="14">
                  <c:v>108.27603156147974</c:v>
                </c:pt>
                <c:pt idx="15">
                  <c:v>106.02007680278058</c:v>
                </c:pt>
                <c:pt idx="16">
                  <c:v>106.51541933497867</c:v>
                </c:pt>
              </c:numCache>
            </c:numRef>
          </c:val>
          <c:smooth val="1"/>
          <c:extLst>
            <c:ext xmlns:c16="http://schemas.microsoft.com/office/drawing/2014/chart" uri="{C3380CC4-5D6E-409C-BE32-E72D297353CC}">
              <c16:uniqueId val="{00000001-DEF1-48A1-AAE1-5462524E9B0B}"/>
            </c:ext>
          </c:extLst>
        </c:ser>
        <c:ser>
          <c:idx val="2"/>
          <c:order val="2"/>
          <c:tx>
            <c:strRef>
              <c:f>Sheet1!$D$1</c:f>
              <c:strCache>
                <c:ptCount val="1"/>
                <c:pt idx="0">
                  <c:v>Group</c:v>
                </c:pt>
              </c:strCache>
            </c:strRef>
          </c:tx>
          <c:spPr>
            <a:ln w="57150" cap="rnd">
              <a:solidFill>
                <a:schemeClr val="accent4">
                  <a:lumMod val="50000"/>
                  <a:lumOff val="50000"/>
                </a:schemeClr>
              </a:solidFill>
              <a:round/>
            </a:ln>
            <a:effectLst/>
          </c:spPr>
          <c:marker>
            <c:symbol val="none"/>
          </c:marker>
          <c:cat>
            <c:strRef>
              <c:f>Sheet1!$A$2:$A$18</c:f>
              <c:strCache>
                <c:ptCount val="17"/>
                <c:pt idx="0">
                  <c:v>2019</c:v>
                </c:pt>
                <c:pt idx="1">
                  <c:v>1Q20</c:v>
                </c:pt>
                <c:pt idx="2">
                  <c:v>2Q20</c:v>
                </c:pt>
                <c:pt idx="3">
                  <c:v>3Q20</c:v>
                </c:pt>
                <c:pt idx="4">
                  <c:v>4Q20</c:v>
                </c:pt>
                <c:pt idx="5">
                  <c:v>1Q21</c:v>
                </c:pt>
                <c:pt idx="6">
                  <c:v>2Q21</c:v>
                </c:pt>
                <c:pt idx="7">
                  <c:v>3Q21</c:v>
                </c:pt>
                <c:pt idx="8">
                  <c:v>4Q21</c:v>
                </c:pt>
                <c:pt idx="9">
                  <c:v>1Q22</c:v>
                </c:pt>
                <c:pt idx="10">
                  <c:v>2Q22</c:v>
                </c:pt>
                <c:pt idx="11">
                  <c:v>3Q22</c:v>
                </c:pt>
                <c:pt idx="12">
                  <c:v>4Q22</c:v>
                </c:pt>
                <c:pt idx="13">
                  <c:v>1Q23</c:v>
                </c:pt>
                <c:pt idx="14">
                  <c:v>2Q23</c:v>
                </c:pt>
                <c:pt idx="15">
                  <c:v>3Q23</c:v>
                </c:pt>
                <c:pt idx="16">
                  <c:v>4Q23</c:v>
                </c:pt>
              </c:strCache>
            </c:strRef>
          </c:cat>
          <c:val>
            <c:numRef>
              <c:f>Sheet1!$D$2:$D$18</c:f>
              <c:numCache>
                <c:formatCode>0.0</c:formatCode>
                <c:ptCount val="17"/>
                <c:pt idx="0" formatCode="#,##0.0">
                  <c:v>100</c:v>
                </c:pt>
                <c:pt idx="1">
                  <c:v>76.392896488459073</c:v>
                </c:pt>
                <c:pt idx="2">
                  <c:v>7.0120585941912061</c:v>
                </c:pt>
                <c:pt idx="3">
                  <c:v>16.255776515371622</c:v>
                </c:pt>
                <c:pt idx="4">
                  <c:v>17.365021806801963</c:v>
                </c:pt>
                <c:pt idx="5">
                  <c:v>21.007333111134628</c:v>
                </c:pt>
                <c:pt idx="6">
                  <c:v>32.222502124296426</c:v>
                </c:pt>
                <c:pt idx="7">
                  <c:v>59.630565735380081</c:v>
                </c:pt>
                <c:pt idx="8">
                  <c:v>67.14806397501917</c:v>
                </c:pt>
                <c:pt idx="9">
                  <c:v>65.206809496513713</c:v>
                </c:pt>
                <c:pt idx="10">
                  <c:v>90.14784862081649</c:v>
                </c:pt>
                <c:pt idx="11">
                  <c:v>91.107644930711004</c:v>
                </c:pt>
                <c:pt idx="12">
                  <c:v>93.22757741145476</c:v>
                </c:pt>
                <c:pt idx="13">
                  <c:v>94.499999999999986</c:v>
                </c:pt>
                <c:pt idx="14">
                  <c:v>95.5</c:v>
                </c:pt>
                <c:pt idx="15">
                  <c:v>96.000000000000014</c:v>
                </c:pt>
                <c:pt idx="16">
                  <c:v>97.499999999999986</c:v>
                </c:pt>
              </c:numCache>
            </c:numRef>
          </c:val>
          <c:smooth val="1"/>
          <c:extLst>
            <c:ext xmlns:c16="http://schemas.microsoft.com/office/drawing/2014/chart" uri="{C3380CC4-5D6E-409C-BE32-E72D297353CC}">
              <c16:uniqueId val="{00000002-DEF1-48A1-AAE1-5462524E9B0B}"/>
            </c:ext>
          </c:extLst>
        </c:ser>
        <c:dLbls>
          <c:showLegendKey val="0"/>
          <c:showVal val="0"/>
          <c:showCatName val="0"/>
          <c:showSerName val="0"/>
          <c:showPercent val="0"/>
          <c:showBubbleSize val="0"/>
        </c:dLbls>
        <c:smooth val="0"/>
        <c:axId val="1016905024"/>
        <c:axId val="1016906672"/>
      </c:lineChart>
      <c:catAx>
        <c:axId val="1016905024"/>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1016906672"/>
        <c:crosses val="autoZero"/>
        <c:auto val="1"/>
        <c:lblAlgn val="ctr"/>
        <c:lblOffset val="100"/>
        <c:noMultiLvlLbl val="1"/>
      </c:catAx>
      <c:valAx>
        <c:axId val="1016906672"/>
        <c:scaling>
          <c:orientation val="minMax"/>
          <c:max val="120"/>
        </c:scaling>
        <c:delete val="0"/>
        <c:axPos val="l"/>
        <c:majorGridlines>
          <c:spPr>
            <a:ln w="9525" cap="flat" cmpd="sng" algn="ctr">
              <a:solidFill>
                <a:schemeClr val="bg1">
                  <a:lumMod val="75000"/>
                </a:schemeClr>
              </a:solidFill>
              <a:round/>
            </a:ln>
            <a:effectLst/>
          </c:spPr>
        </c:majorGridlines>
        <c:title>
          <c:tx>
            <c:rich>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US" sz="1400" b="1">
                    <a:solidFill>
                      <a:schemeClr val="tx1"/>
                    </a:solidFill>
                  </a:rPr>
                  <a:t>Indexed to 2019</a:t>
                </a:r>
              </a:p>
            </c:rich>
          </c:tx>
          <c:overlay val="0"/>
          <c:spPr>
            <a:noFill/>
            <a:ln>
              <a:noFill/>
            </a:ln>
            <a:effectLst/>
          </c:spPr>
          <c:txPr>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101690502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026807092253756E-2"/>
          <c:y val="5.693318200571585E-2"/>
          <c:w val="0.96782741488230351"/>
          <c:h val="0.75115479039412192"/>
        </c:manualLayout>
      </c:layout>
      <c:barChart>
        <c:barDir val="col"/>
        <c:grouping val="clustered"/>
        <c:varyColors val="0"/>
        <c:ser>
          <c:idx val="0"/>
          <c:order val="0"/>
          <c:tx>
            <c:strRef>
              <c:f>Sheet1!$C$1</c:f>
              <c:strCache>
                <c:ptCount val="1"/>
                <c:pt idx="0">
                  <c:v>CBD</c:v>
                </c:pt>
              </c:strCache>
            </c:strRef>
          </c:tx>
          <c:spPr>
            <a:solidFill>
              <a:schemeClr val="accent3">
                <a:lumMod val="20000"/>
                <a:lumOff val="80000"/>
              </a:schemeClr>
            </a:solidFill>
            <a:ln w="9525">
              <a:solidFill>
                <a:schemeClr val="accent3">
                  <a:lumMod val="20000"/>
                  <a:lumOff val="80000"/>
                </a:schemeClr>
              </a:solidFill>
            </a:ln>
          </c:spPr>
          <c:invertIfNegative val="0"/>
          <c:dLbls>
            <c:numFmt formatCode="#,##0" sourceLinked="0"/>
            <c:spPr>
              <a:noFill/>
              <a:ln>
                <a:noFill/>
              </a:ln>
              <a:effectLst/>
            </c:spPr>
            <c:txPr>
              <a:bodyPr wrap="square" lIns="38100" tIns="19050" rIns="38100" bIns="19050" anchor="ctr">
                <a:spAutoFit/>
              </a:bodyPr>
              <a:lstStyle/>
              <a:p>
                <a:pPr>
                  <a:defRPr sz="1400">
                    <a:latin typeface="+mj-lt"/>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Sheet1!$A$2:$B$16</c:f>
              <c:multiLvlStrCache>
                <c:ptCount val="15"/>
                <c:lvl>
                  <c:pt idx="0">
                    <c:v>2021</c:v>
                  </c:pt>
                  <c:pt idx="1">
                    <c:v>2022</c:v>
                  </c:pt>
                  <c:pt idx="2">
                    <c:v>2023</c:v>
                  </c:pt>
                  <c:pt idx="3">
                    <c:v>2024</c:v>
                  </c:pt>
                  <c:pt idx="4">
                    <c:v>2025</c:v>
                  </c:pt>
                  <c:pt idx="5">
                    <c:v>2021</c:v>
                  </c:pt>
                  <c:pt idx="6">
                    <c:v>2022</c:v>
                  </c:pt>
                  <c:pt idx="7">
                    <c:v>2023</c:v>
                  </c:pt>
                  <c:pt idx="8">
                    <c:v>2024</c:v>
                  </c:pt>
                  <c:pt idx="9">
                    <c:v>2025</c:v>
                  </c:pt>
                  <c:pt idx="10">
                    <c:v>2021</c:v>
                  </c:pt>
                  <c:pt idx="11">
                    <c:v>2022</c:v>
                  </c:pt>
                  <c:pt idx="12">
                    <c:v>2023</c:v>
                  </c:pt>
                  <c:pt idx="13">
                    <c:v>2024</c:v>
                  </c:pt>
                  <c:pt idx="14">
                    <c:v>2025</c:v>
                  </c:pt>
                </c:lvl>
                <c:lvl>
                  <c:pt idx="0">
                    <c:v>Central Business Districts</c:v>
                  </c:pt>
                  <c:pt idx="5">
                    <c:v>Top 25 Markets</c:v>
                  </c:pt>
                  <c:pt idx="10">
                    <c:v>All Other Markets</c:v>
                  </c:pt>
                </c:lvl>
              </c:multiLvlStrCache>
            </c:multiLvlStrRef>
          </c:cat>
          <c:val>
            <c:numRef>
              <c:f>Sheet1!$C$2:$C$16</c:f>
              <c:numCache>
                <c:formatCode>0.00</c:formatCode>
                <c:ptCount val="15"/>
                <c:pt idx="0">
                  <c:v>55.198462659863488</c:v>
                </c:pt>
                <c:pt idx="1">
                  <c:v>87.058169801138746</c:v>
                </c:pt>
                <c:pt idx="2">
                  <c:v>95.712132820732791</c:v>
                </c:pt>
                <c:pt idx="3">
                  <c:v>104.59027554667739</c:v>
                </c:pt>
                <c:pt idx="4">
                  <c:v>109.98282101443304</c:v>
                </c:pt>
              </c:numCache>
            </c:numRef>
          </c:val>
          <c:extLst>
            <c:ext xmlns:c16="http://schemas.microsoft.com/office/drawing/2014/chart" uri="{C3380CC4-5D6E-409C-BE32-E72D297353CC}">
              <c16:uniqueId val="{00000000-1007-4B9E-A0DC-9B743F4B5222}"/>
            </c:ext>
          </c:extLst>
        </c:ser>
        <c:ser>
          <c:idx val="2"/>
          <c:order val="1"/>
          <c:tx>
            <c:strRef>
              <c:f>Sheet1!$D$1</c:f>
              <c:strCache>
                <c:ptCount val="1"/>
                <c:pt idx="0">
                  <c:v>CBD Real</c:v>
                </c:pt>
              </c:strCache>
            </c:strRef>
          </c:tx>
          <c:spPr>
            <a:solidFill>
              <a:schemeClr val="accent3">
                <a:lumMod val="60000"/>
                <a:lumOff val="40000"/>
              </a:schemeClr>
            </a:solidFill>
            <a:ln>
              <a:solidFill>
                <a:schemeClr val="accent3">
                  <a:lumMod val="20000"/>
                  <a:lumOff val="80000"/>
                </a:schemeClr>
              </a:solidFill>
            </a:ln>
          </c:spPr>
          <c:invertIfNegative val="0"/>
          <c:dLbls>
            <c:numFmt formatCode="#,##0" sourceLinked="0"/>
            <c:spPr>
              <a:noFill/>
              <a:ln>
                <a:noFill/>
              </a:ln>
              <a:effectLst/>
            </c:spPr>
            <c:txPr>
              <a:bodyPr wrap="square" lIns="38100" tIns="19050" rIns="38100" bIns="19050" anchor="ctr">
                <a:spAutoFit/>
              </a:bodyPr>
              <a:lstStyle/>
              <a:p>
                <a:pPr>
                  <a:defRPr sz="1200">
                    <a:solidFill>
                      <a:schemeClr val="bg1"/>
                    </a:solidFill>
                    <a:latin typeface="Arial" panose="020B0604020202020204" pitchFamily="34" charset="0"/>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D$2:$D$16</c:f>
              <c:numCache>
                <c:formatCode>0.00</c:formatCode>
                <c:ptCount val="15"/>
                <c:pt idx="0">
                  <c:v>52.077672727586446</c:v>
                </c:pt>
                <c:pt idx="1">
                  <c:v>76.474662782741049</c:v>
                </c:pt>
                <c:pt idx="2">
                  <c:v>82.414303656518499</c:v>
                </c:pt>
                <c:pt idx="3">
                  <c:v>88.54688857670655</c:v>
                </c:pt>
                <c:pt idx="4">
                  <c:v>91.295240575166588</c:v>
                </c:pt>
              </c:numCache>
            </c:numRef>
          </c:val>
          <c:extLst>
            <c:ext xmlns:c16="http://schemas.microsoft.com/office/drawing/2014/chart" uri="{C3380CC4-5D6E-409C-BE32-E72D297353CC}">
              <c16:uniqueId val="{00000000-3EA5-40BA-96AE-5137B859BDE5}"/>
            </c:ext>
          </c:extLst>
        </c:ser>
        <c:ser>
          <c:idx val="1"/>
          <c:order val="2"/>
          <c:tx>
            <c:strRef>
              <c:f>Sheet1!$E$1</c:f>
              <c:strCache>
                <c:ptCount val="1"/>
                <c:pt idx="0">
                  <c:v>Top 25</c:v>
                </c:pt>
              </c:strCache>
            </c:strRef>
          </c:tx>
          <c:spPr>
            <a:solidFill>
              <a:schemeClr val="accent3">
                <a:lumMod val="60000"/>
                <a:lumOff val="40000"/>
              </a:schemeClr>
            </a:solidFill>
          </c:spPr>
          <c:invertIfNegative val="0"/>
          <c:dLbls>
            <c:numFmt formatCode="#,##0" sourceLinked="0"/>
            <c:spPr>
              <a:noFill/>
              <a:ln>
                <a:noFill/>
              </a:ln>
              <a:effectLst/>
            </c:spPr>
            <c:txPr>
              <a:bodyPr wrap="square" lIns="38100" tIns="19050" rIns="38100" bIns="19050" anchor="ctr">
                <a:spAutoFit/>
              </a:bodyPr>
              <a:lstStyle/>
              <a:p>
                <a:pPr>
                  <a:defRPr sz="1400">
                    <a:latin typeface="+mn-lt"/>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Sheet1!$A$2:$B$16</c:f>
              <c:multiLvlStrCache>
                <c:ptCount val="15"/>
                <c:lvl>
                  <c:pt idx="0">
                    <c:v>2021</c:v>
                  </c:pt>
                  <c:pt idx="1">
                    <c:v>2022</c:v>
                  </c:pt>
                  <c:pt idx="2">
                    <c:v>2023</c:v>
                  </c:pt>
                  <c:pt idx="3">
                    <c:v>2024</c:v>
                  </c:pt>
                  <c:pt idx="4">
                    <c:v>2025</c:v>
                  </c:pt>
                  <c:pt idx="5">
                    <c:v>2021</c:v>
                  </c:pt>
                  <c:pt idx="6">
                    <c:v>2022</c:v>
                  </c:pt>
                  <c:pt idx="7">
                    <c:v>2023</c:v>
                  </c:pt>
                  <c:pt idx="8">
                    <c:v>2024</c:v>
                  </c:pt>
                  <c:pt idx="9">
                    <c:v>2025</c:v>
                  </c:pt>
                  <c:pt idx="10">
                    <c:v>2021</c:v>
                  </c:pt>
                  <c:pt idx="11">
                    <c:v>2022</c:v>
                  </c:pt>
                  <c:pt idx="12">
                    <c:v>2023</c:v>
                  </c:pt>
                  <c:pt idx="13">
                    <c:v>2024</c:v>
                  </c:pt>
                  <c:pt idx="14">
                    <c:v>2025</c:v>
                  </c:pt>
                </c:lvl>
                <c:lvl>
                  <c:pt idx="0">
                    <c:v>Central Business Districts</c:v>
                  </c:pt>
                  <c:pt idx="5">
                    <c:v>Top 25 Markets</c:v>
                  </c:pt>
                  <c:pt idx="10">
                    <c:v>All Other Markets</c:v>
                  </c:pt>
                </c:lvl>
              </c:multiLvlStrCache>
            </c:multiLvlStrRef>
          </c:cat>
          <c:val>
            <c:numRef>
              <c:f>Sheet1!$E$2:$E$16</c:f>
              <c:numCache>
                <c:formatCode>General</c:formatCode>
                <c:ptCount val="15"/>
                <c:pt idx="5" formatCode="0.00">
                  <c:v>67.198698293559346</c:v>
                </c:pt>
                <c:pt idx="6" formatCode="0.00">
                  <c:v>99.176796011159524</c:v>
                </c:pt>
                <c:pt idx="7" formatCode="0.00">
                  <c:v>107.19110841483304</c:v>
                </c:pt>
                <c:pt idx="8" formatCode="0.00">
                  <c:v>114.62108610415387</c:v>
                </c:pt>
                <c:pt idx="9" formatCode="0.00">
                  <c:v>119.75043184834047</c:v>
                </c:pt>
              </c:numCache>
            </c:numRef>
          </c:val>
          <c:extLst>
            <c:ext xmlns:c16="http://schemas.microsoft.com/office/drawing/2014/chart" uri="{C3380CC4-5D6E-409C-BE32-E72D297353CC}">
              <c16:uniqueId val="{00000001-0064-4327-8C3B-65DC9D7E3F52}"/>
            </c:ext>
          </c:extLst>
        </c:ser>
        <c:ser>
          <c:idx val="3"/>
          <c:order val="3"/>
          <c:tx>
            <c:strRef>
              <c:f>Sheet1!$F$1</c:f>
              <c:strCache>
                <c:ptCount val="1"/>
                <c:pt idx="0">
                  <c:v>Top 25 Real</c:v>
                </c:pt>
              </c:strCache>
            </c:strRef>
          </c:tx>
          <c:spPr>
            <a:solidFill>
              <a:schemeClr val="accent3">
                <a:lumMod val="75000"/>
              </a:schemeClr>
            </a:solidFill>
          </c:spPr>
          <c:invertIfNegative val="0"/>
          <c:dLbls>
            <c:numFmt formatCode="#,##0" sourceLinked="0"/>
            <c:spPr>
              <a:noFill/>
              <a:ln>
                <a:noFill/>
              </a:ln>
              <a:effectLst/>
            </c:spPr>
            <c:txPr>
              <a:bodyPr wrap="square" lIns="38100" tIns="19050" rIns="38100" bIns="19050" anchor="ctr">
                <a:spAutoFit/>
              </a:bodyPr>
              <a:lstStyle/>
              <a:p>
                <a:pPr>
                  <a:defRPr sz="1400">
                    <a:solidFill>
                      <a:schemeClr val="bg1"/>
                    </a:solidFill>
                    <a:latin typeface="+mn-lt"/>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F$2:$F$16</c:f>
              <c:numCache>
                <c:formatCode>General</c:formatCode>
                <c:ptCount val="15"/>
                <c:pt idx="5" formatCode="0.00">
                  <c:v>63.399443550018255</c:v>
                </c:pt>
                <c:pt idx="6" formatCode="0.00">
                  <c:v>87.120049136697034</c:v>
                </c:pt>
                <c:pt idx="7" formatCode="0.00">
                  <c:v>92.298440101893135</c:v>
                </c:pt>
                <c:pt idx="8" formatCode="0.00">
                  <c:v>97.039045807619758</c:v>
                </c:pt>
                <c:pt idx="9" formatCode="0.00">
                  <c:v>99.403201188480551</c:v>
                </c:pt>
              </c:numCache>
            </c:numRef>
          </c:val>
          <c:extLst>
            <c:ext xmlns:c16="http://schemas.microsoft.com/office/drawing/2014/chart" uri="{C3380CC4-5D6E-409C-BE32-E72D297353CC}">
              <c16:uniqueId val="{00000001-3EA5-40BA-96AE-5137B859BDE5}"/>
            </c:ext>
          </c:extLst>
        </c:ser>
        <c:ser>
          <c:idx val="5"/>
          <c:order val="4"/>
          <c:tx>
            <c:strRef>
              <c:f>Sheet1!$G$1</c:f>
              <c:strCache>
                <c:ptCount val="1"/>
                <c:pt idx="0">
                  <c:v>Others</c:v>
                </c:pt>
              </c:strCache>
            </c:strRef>
          </c:tx>
          <c:spPr>
            <a:solidFill>
              <a:schemeClr val="accent3"/>
            </a:solidFill>
            <a:ln>
              <a:solidFill>
                <a:schemeClr val="accent3"/>
              </a:solidFill>
            </a:ln>
          </c:spPr>
          <c:invertIfNegative val="0"/>
          <c:dLbls>
            <c:numFmt formatCode="#,##0" sourceLinked="0"/>
            <c:spPr>
              <a:noFill/>
              <a:ln>
                <a:noFill/>
              </a:ln>
              <a:effectLst/>
            </c:spPr>
            <c:txPr>
              <a:bodyPr wrap="square" lIns="38100" tIns="19050" rIns="38100" bIns="19050" anchor="ctr">
                <a:spAutoFit/>
              </a:bodyPr>
              <a:lstStyle/>
              <a:p>
                <a:pPr>
                  <a:defRPr sz="1400">
                    <a:latin typeface="+mj-lt"/>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Sheet1!$A$2:$B$16</c:f>
              <c:multiLvlStrCache>
                <c:ptCount val="15"/>
                <c:lvl>
                  <c:pt idx="0">
                    <c:v>2021</c:v>
                  </c:pt>
                  <c:pt idx="1">
                    <c:v>2022</c:v>
                  </c:pt>
                  <c:pt idx="2">
                    <c:v>2023</c:v>
                  </c:pt>
                  <c:pt idx="3">
                    <c:v>2024</c:v>
                  </c:pt>
                  <c:pt idx="4">
                    <c:v>2025</c:v>
                  </c:pt>
                  <c:pt idx="5">
                    <c:v>2021</c:v>
                  </c:pt>
                  <c:pt idx="6">
                    <c:v>2022</c:v>
                  </c:pt>
                  <c:pt idx="7">
                    <c:v>2023</c:v>
                  </c:pt>
                  <c:pt idx="8">
                    <c:v>2024</c:v>
                  </c:pt>
                  <c:pt idx="9">
                    <c:v>2025</c:v>
                  </c:pt>
                  <c:pt idx="10">
                    <c:v>2021</c:v>
                  </c:pt>
                  <c:pt idx="11">
                    <c:v>2022</c:v>
                  </c:pt>
                  <c:pt idx="12">
                    <c:v>2023</c:v>
                  </c:pt>
                  <c:pt idx="13">
                    <c:v>2024</c:v>
                  </c:pt>
                  <c:pt idx="14">
                    <c:v>2025</c:v>
                  </c:pt>
                </c:lvl>
                <c:lvl>
                  <c:pt idx="0">
                    <c:v>Central Business Districts</c:v>
                  </c:pt>
                  <c:pt idx="5">
                    <c:v>Top 25 Markets</c:v>
                  </c:pt>
                  <c:pt idx="10">
                    <c:v>All Other Markets</c:v>
                  </c:pt>
                </c:lvl>
              </c:multiLvlStrCache>
            </c:multiLvlStrRef>
          </c:cat>
          <c:val>
            <c:numRef>
              <c:f>Sheet1!$G$2:$G$16</c:f>
              <c:numCache>
                <c:formatCode>General</c:formatCode>
                <c:ptCount val="15"/>
                <c:pt idx="10" formatCode="0.00">
                  <c:v>95.434795957166003</c:v>
                </c:pt>
                <c:pt idx="11" formatCode="0.00">
                  <c:v>114.12432079872563</c:v>
                </c:pt>
                <c:pt idx="12" formatCode="0.00">
                  <c:v>118.57302388079745</c:v>
                </c:pt>
                <c:pt idx="13" formatCode="0.00">
                  <c:v>122.8329053836503</c:v>
                </c:pt>
                <c:pt idx="14" formatCode="0.00">
                  <c:v>125.90227233056935</c:v>
                </c:pt>
              </c:numCache>
            </c:numRef>
          </c:val>
          <c:extLst>
            <c:ext xmlns:c16="http://schemas.microsoft.com/office/drawing/2014/chart" uri="{C3380CC4-5D6E-409C-BE32-E72D297353CC}">
              <c16:uniqueId val="{00000006-0064-4327-8C3B-65DC9D7E3F52}"/>
            </c:ext>
          </c:extLst>
        </c:ser>
        <c:ser>
          <c:idx val="4"/>
          <c:order val="5"/>
          <c:tx>
            <c:strRef>
              <c:f>Sheet1!$H$1</c:f>
              <c:strCache>
                <c:ptCount val="1"/>
                <c:pt idx="0">
                  <c:v>Others Real</c:v>
                </c:pt>
              </c:strCache>
            </c:strRef>
          </c:tx>
          <c:spPr>
            <a:solidFill>
              <a:schemeClr val="accent3">
                <a:lumMod val="20000"/>
                <a:lumOff val="80000"/>
              </a:schemeClr>
            </a:solidFill>
            <a:ln>
              <a:solidFill>
                <a:schemeClr val="accent3"/>
              </a:solidFill>
            </a:ln>
          </c:spPr>
          <c:invertIfNegative val="0"/>
          <c:dLbls>
            <c:numFmt formatCode="#,##0" sourceLinked="0"/>
            <c:spPr>
              <a:noFill/>
              <a:ln>
                <a:noFill/>
              </a:ln>
              <a:effectLst/>
            </c:spPr>
            <c:txPr>
              <a:bodyPr wrap="square" lIns="38100" tIns="19050" rIns="38100" bIns="19050" anchor="ctr">
                <a:spAutoFit/>
              </a:bodyPr>
              <a:lstStyle/>
              <a:p>
                <a:pPr>
                  <a:defRPr sz="1200">
                    <a:latin typeface="Arial" panose="020B0604020202020204" pitchFamily="34" charset="0"/>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H$2:$H$16</c:f>
              <c:numCache>
                <c:formatCode>General</c:formatCode>
                <c:ptCount val="15"/>
                <c:pt idx="10" formatCode="0.00">
                  <c:v>90.039139338116726</c:v>
                </c:pt>
                <c:pt idx="11" formatCode="0.00">
                  <c:v>100.25042989449271</c:v>
                </c:pt>
                <c:pt idx="12" formatCode="0.00">
                  <c:v>102.09900153292648</c:v>
                </c:pt>
                <c:pt idx="13" formatCode="0.00">
                  <c:v>103.99123178239627</c:v>
                </c:pt>
                <c:pt idx="14" formatCode="0.00">
                  <c:v>104.50976011854682</c:v>
                </c:pt>
              </c:numCache>
            </c:numRef>
          </c:val>
          <c:extLst>
            <c:ext xmlns:c16="http://schemas.microsoft.com/office/drawing/2014/chart" uri="{C3380CC4-5D6E-409C-BE32-E72D297353CC}">
              <c16:uniqueId val="{00000002-3EA5-40BA-96AE-5137B859BDE5}"/>
            </c:ext>
          </c:extLst>
        </c:ser>
        <c:dLbls>
          <c:showLegendKey val="0"/>
          <c:showVal val="0"/>
          <c:showCatName val="0"/>
          <c:showSerName val="0"/>
          <c:showPercent val="0"/>
          <c:showBubbleSize val="0"/>
        </c:dLbls>
        <c:gapWidth val="60"/>
        <c:overlap val="100"/>
        <c:axId val="382568736"/>
        <c:axId val="382569520"/>
      </c:barChart>
      <c:catAx>
        <c:axId val="382568736"/>
        <c:scaling>
          <c:orientation val="minMax"/>
        </c:scaling>
        <c:delete val="0"/>
        <c:axPos val="b"/>
        <c:numFmt formatCode="[$-409]d\-mmm;@" sourceLinked="0"/>
        <c:majorTickMark val="none"/>
        <c:minorTickMark val="none"/>
        <c:tickLblPos val="low"/>
        <c:spPr>
          <a:ln w="3368">
            <a:solidFill>
              <a:schemeClr val="tx1"/>
            </a:solidFill>
            <a:prstDash val="solid"/>
          </a:ln>
        </c:spPr>
        <c:txPr>
          <a:bodyPr rot="0" vert="horz"/>
          <a:lstStyle/>
          <a:p>
            <a:pPr>
              <a:defRPr sz="1400" b="1" i="0" u="none" strike="noStrike" baseline="0">
                <a:solidFill>
                  <a:schemeClr val="tx1"/>
                </a:solidFill>
                <a:latin typeface="+mn-lt"/>
                <a:ea typeface="Arial"/>
                <a:cs typeface="Arial"/>
              </a:defRPr>
            </a:pPr>
            <a:endParaRPr lang="en-US"/>
          </a:p>
        </c:txPr>
        <c:crossAx val="382569520"/>
        <c:crosses val="autoZero"/>
        <c:auto val="0"/>
        <c:lblAlgn val="ctr"/>
        <c:lblOffset val="100"/>
        <c:tickLblSkip val="1"/>
        <c:noMultiLvlLbl val="0"/>
      </c:catAx>
      <c:valAx>
        <c:axId val="382569520"/>
        <c:scaling>
          <c:orientation val="minMax"/>
          <c:min val="50"/>
        </c:scaling>
        <c:delete val="1"/>
        <c:axPos val="l"/>
        <c:numFmt formatCode="#,##0" sourceLinked="0"/>
        <c:majorTickMark val="out"/>
        <c:minorTickMark val="none"/>
        <c:tickLblPos val="nextTo"/>
        <c:crossAx val="382568736"/>
        <c:crosses val="autoZero"/>
        <c:crossBetween val="between"/>
      </c:valAx>
      <c:spPr>
        <a:noFill/>
        <a:ln w="25400">
          <a:noFill/>
        </a:ln>
      </c:spPr>
    </c:plotArea>
    <c:plotVisOnly val="1"/>
    <c:dispBlanksAs val="gap"/>
    <c:showDLblsOverMax val="0"/>
  </c:chart>
  <c:spPr>
    <a:noFill/>
    <a:ln>
      <a:noFill/>
    </a:ln>
  </c:spPr>
  <c:txPr>
    <a:bodyPr/>
    <a:lstStyle/>
    <a:p>
      <a:pPr>
        <a:defRPr sz="1909" b="1" i="0" u="none" strike="noStrike" baseline="0">
          <a:solidFill>
            <a:schemeClr val="tx1"/>
          </a:solidFill>
          <a:latin typeface="Times New Roman"/>
          <a:ea typeface="Times New Roman"/>
          <a:cs typeface="Times New Roman"/>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306047681539807E-2"/>
          <c:y val="7.5936271377357062E-2"/>
          <c:w val="0.94527440580344124"/>
          <c:h val="0.83362843743569182"/>
        </c:manualLayout>
      </c:layout>
      <c:barChart>
        <c:barDir val="col"/>
        <c:grouping val="clustered"/>
        <c:varyColors val="0"/>
        <c:ser>
          <c:idx val="0"/>
          <c:order val="0"/>
          <c:tx>
            <c:strRef>
              <c:f>Sheet1!$B$1</c:f>
              <c:strCache>
                <c:ptCount val="1"/>
                <c:pt idx="0">
                  <c:v>Series 1</c:v>
                </c:pt>
              </c:strCache>
            </c:strRef>
          </c:tx>
          <c:spPr>
            <a:solidFill>
              <a:schemeClr val="bg1">
                <a:lumMod val="75000"/>
              </a:schemeClr>
            </a:solidFill>
            <a:ln>
              <a:solidFill>
                <a:schemeClr val="bg1">
                  <a:lumMod val="75000"/>
                </a:schemeClr>
              </a:solidFill>
            </a:ln>
            <a:effectLst/>
          </c:spPr>
          <c:invertIfNegative val="0"/>
          <c:dPt>
            <c:idx val="16"/>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1-8959-4DE6-A2F7-66F934D95250}"/>
              </c:ext>
            </c:extLst>
          </c:dPt>
          <c:dPt>
            <c:idx val="17"/>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2-8959-4DE6-A2F7-66F934D95250}"/>
              </c:ext>
            </c:extLst>
          </c:dPt>
          <c:dPt>
            <c:idx val="18"/>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3-8959-4DE6-A2F7-66F934D95250}"/>
              </c:ext>
            </c:extLst>
          </c:dPt>
          <c:dPt>
            <c:idx val="19"/>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4-8959-4DE6-A2F7-66F934D95250}"/>
              </c:ext>
            </c:extLst>
          </c:dPt>
          <c:dPt>
            <c:idx val="20"/>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5-8959-4DE6-A2F7-66F934D95250}"/>
              </c:ext>
            </c:extLst>
          </c:dPt>
          <c:dPt>
            <c:idx val="21"/>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6-8959-4DE6-A2F7-66F934D95250}"/>
              </c:ext>
            </c:extLst>
          </c:dPt>
          <c:dPt>
            <c:idx val="22"/>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D-E9A4-40CD-9FAF-70D6AA008C71}"/>
              </c:ext>
            </c:extLst>
          </c:dPt>
          <c:dPt>
            <c:idx val="23"/>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F-B937-4D10-933A-B335B50F7334}"/>
              </c:ext>
            </c:extLst>
          </c:dPt>
          <c:dPt>
            <c:idx val="24"/>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10-B937-4D10-933A-B335B50F7334}"/>
              </c:ext>
            </c:extLst>
          </c:dPt>
          <c:dPt>
            <c:idx val="25"/>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13-BAC6-4D28-83A1-A20F7AFF77E4}"/>
              </c:ext>
            </c:extLst>
          </c:dPt>
          <c:dPt>
            <c:idx val="26"/>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15-286E-4262-B671-C9FF30521D21}"/>
              </c:ext>
            </c:extLst>
          </c:dPt>
          <c:dPt>
            <c:idx val="27"/>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17-32D9-4972-9C4C-A9A413BA6957}"/>
              </c:ext>
            </c:extLst>
          </c:dPt>
          <c:dPt>
            <c:idx val="28"/>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19-27BD-4329-AD90-8967224359A4}"/>
              </c:ext>
            </c:extLst>
          </c:dPt>
          <c:cat>
            <c:numRef>
              <c:f>Sheet1!$A$2:$A$30</c:f>
              <c:numCache>
                <c:formatCode>mmm\-yy</c:formatCode>
                <c:ptCount val="29"/>
                <c:pt idx="0">
                  <c:v>43891</c:v>
                </c:pt>
                <c:pt idx="1">
                  <c:v>43922</c:v>
                </c:pt>
                <c:pt idx="2">
                  <c:v>43952</c:v>
                </c:pt>
                <c:pt idx="3">
                  <c:v>43983</c:v>
                </c:pt>
                <c:pt idx="4">
                  <c:v>44013</c:v>
                </c:pt>
                <c:pt idx="5">
                  <c:v>44044</c:v>
                </c:pt>
                <c:pt idx="6">
                  <c:v>44075</c:v>
                </c:pt>
                <c:pt idx="7">
                  <c:v>44105</c:v>
                </c:pt>
                <c:pt idx="8">
                  <c:v>44136</c:v>
                </c:pt>
                <c:pt idx="9">
                  <c:v>44166</c:v>
                </c:pt>
                <c:pt idx="10">
                  <c:v>44197</c:v>
                </c:pt>
                <c:pt idx="11">
                  <c:v>44228</c:v>
                </c:pt>
                <c:pt idx="12">
                  <c:v>44256</c:v>
                </c:pt>
                <c:pt idx="13">
                  <c:v>44287</c:v>
                </c:pt>
                <c:pt idx="14">
                  <c:v>44317</c:v>
                </c:pt>
                <c:pt idx="15">
                  <c:v>44348</c:v>
                </c:pt>
                <c:pt idx="16">
                  <c:v>44378</c:v>
                </c:pt>
                <c:pt idx="17">
                  <c:v>44409</c:v>
                </c:pt>
                <c:pt idx="18">
                  <c:v>44440</c:v>
                </c:pt>
                <c:pt idx="19">
                  <c:v>44470</c:v>
                </c:pt>
                <c:pt idx="20">
                  <c:v>44501</c:v>
                </c:pt>
                <c:pt idx="21">
                  <c:v>44531</c:v>
                </c:pt>
                <c:pt idx="22">
                  <c:v>44562</c:v>
                </c:pt>
                <c:pt idx="23">
                  <c:v>44593</c:v>
                </c:pt>
                <c:pt idx="24">
                  <c:v>44621</c:v>
                </c:pt>
                <c:pt idx="25">
                  <c:v>44652</c:v>
                </c:pt>
                <c:pt idx="26">
                  <c:v>44682</c:v>
                </c:pt>
                <c:pt idx="27">
                  <c:v>44713</c:v>
                </c:pt>
                <c:pt idx="28">
                  <c:v>44743</c:v>
                </c:pt>
              </c:numCache>
            </c:numRef>
          </c:cat>
          <c:val>
            <c:numRef>
              <c:f>Sheet1!$B$2:$B$30</c:f>
              <c:numCache>
                <c:formatCode>0.0</c:formatCode>
                <c:ptCount val="29"/>
                <c:pt idx="0">
                  <c:v>32.331839724916016</c:v>
                </c:pt>
                <c:pt idx="1">
                  <c:v>6.2109796375913175</c:v>
                </c:pt>
                <c:pt idx="2">
                  <c:v>6.9260236947167275</c:v>
                </c:pt>
                <c:pt idx="3">
                  <c:v>7.3505263431521657</c:v>
                </c:pt>
                <c:pt idx="4">
                  <c:v>12.02719008627572</c:v>
                </c:pt>
                <c:pt idx="5">
                  <c:v>19.410595751496349</c:v>
                </c:pt>
                <c:pt idx="6">
                  <c:v>17.106955270817302</c:v>
                </c:pt>
                <c:pt idx="7">
                  <c:v>17.112874859774127</c:v>
                </c:pt>
                <c:pt idx="8">
                  <c:v>16.472737806165007</c:v>
                </c:pt>
                <c:pt idx="9">
                  <c:v>19.013537452883813</c:v>
                </c:pt>
                <c:pt idx="10">
                  <c:v>19.144088518543814</c:v>
                </c:pt>
                <c:pt idx="11">
                  <c:v>20.014067450134583</c:v>
                </c:pt>
                <c:pt idx="12">
                  <c:v>23.016060854413315</c:v>
                </c:pt>
                <c:pt idx="13">
                  <c:v>27.313061210639706</c:v>
                </c:pt>
                <c:pt idx="14">
                  <c:v>29.989406552718528</c:v>
                </c:pt>
                <c:pt idx="15">
                  <c:v>38.775765938947295</c:v>
                </c:pt>
                <c:pt idx="16">
                  <c:v>54.363642890745645</c:v>
                </c:pt>
                <c:pt idx="17">
                  <c:v>60.281280957663263</c:v>
                </c:pt>
                <c:pt idx="18">
                  <c:v>62.869760128466766</c:v>
                </c:pt>
                <c:pt idx="19">
                  <c:v>63.612019949683962</c:v>
                </c:pt>
                <c:pt idx="20">
                  <c:v>67.541923618807559</c:v>
                </c:pt>
                <c:pt idx="21">
                  <c:v>78.811573887561323</c:v>
                </c:pt>
                <c:pt idx="22">
                  <c:v>48.877344443685537</c:v>
                </c:pt>
                <c:pt idx="23">
                  <c:v>63.28961244540303</c:v>
                </c:pt>
                <c:pt idx="24">
                  <c:v>80.684399638755551</c:v>
                </c:pt>
                <c:pt idx="25">
                  <c:v>87.382015876406655</c:v>
                </c:pt>
                <c:pt idx="26">
                  <c:v>88.437314923438365</c:v>
                </c:pt>
                <c:pt idx="27">
                  <c:v>95.001643019196692</c:v>
                </c:pt>
                <c:pt idx="28">
                  <c:v>92.176045440760589</c:v>
                </c:pt>
              </c:numCache>
            </c:numRef>
          </c:val>
          <c:extLst>
            <c:ext xmlns:c16="http://schemas.microsoft.com/office/drawing/2014/chart" uri="{C3380CC4-5D6E-409C-BE32-E72D297353CC}">
              <c16:uniqueId val="{00000000-B06A-4228-9D43-365C0BBA8652}"/>
            </c:ext>
          </c:extLst>
        </c:ser>
        <c:dLbls>
          <c:showLegendKey val="0"/>
          <c:showVal val="0"/>
          <c:showCatName val="0"/>
          <c:showSerName val="0"/>
          <c:showPercent val="0"/>
          <c:showBubbleSize val="0"/>
        </c:dLbls>
        <c:gapWidth val="60"/>
        <c:overlap val="100"/>
        <c:axId val="1747841856"/>
        <c:axId val="777482128"/>
      </c:barChart>
      <c:dateAx>
        <c:axId val="1747841856"/>
        <c:scaling>
          <c:orientation val="minMax"/>
        </c:scaling>
        <c:delete val="0"/>
        <c:axPos val="b"/>
        <c:numFmt formatCode="[$-409]mmm\-yy;@" sourceLinked="0"/>
        <c:majorTickMark val="out"/>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1400" b="1" i="0" u="none" strike="noStrike" kern="1200" baseline="0">
                <a:solidFill>
                  <a:schemeClr val="tx1"/>
                </a:solidFill>
                <a:latin typeface="+mn-lt"/>
                <a:ea typeface="+mn-ea"/>
                <a:cs typeface="+mn-cs"/>
              </a:defRPr>
            </a:pPr>
            <a:endParaRPr lang="en-US"/>
          </a:p>
        </c:txPr>
        <c:crossAx val="777482128"/>
        <c:crosses val="autoZero"/>
        <c:auto val="0"/>
        <c:lblOffset val="100"/>
        <c:baseTimeUnit val="months"/>
      </c:dateAx>
      <c:valAx>
        <c:axId val="7774821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17478418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047349992063704E-2"/>
          <c:y val="4.4934697982865181E-2"/>
          <c:w val="0.95295265000793616"/>
          <c:h val="0.79470304943042114"/>
        </c:manualLayout>
      </c:layout>
      <c:lineChart>
        <c:grouping val="standard"/>
        <c:varyColors val="0"/>
        <c:ser>
          <c:idx val="0"/>
          <c:order val="0"/>
          <c:tx>
            <c:strRef>
              <c:f>Sheet1!$C$1</c:f>
              <c:strCache>
                <c:ptCount val="1"/>
                <c:pt idx="0">
                  <c:v>2019</c:v>
                </c:pt>
              </c:strCache>
            </c:strRef>
          </c:tx>
          <c:spPr>
            <a:ln w="38100" cap="rnd">
              <a:solidFill>
                <a:schemeClr val="accent1"/>
              </a:solidFill>
              <a:prstDash val="dash"/>
              <a:round/>
            </a:ln>
            <a:effectLst/>
          </c:spPr>
          <c:marker>
            <c:symbol val="none"/>
          </c:marker>
          <c:cat>
            <c:strRef>
              <c:f>Sheet1!$B$2:$B$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0.0%</c:formatCode>
                <c:ptCount val="12"/>
                <c:pt idx="0">
                  <c:v>0.5462064765876482</c:v>
                </c:pt>
                <c:pt idx="1">
                  <c:v>0.62002762116416898</c:v>
                </c:pt>
                <c:pt idx="2">
                  <c:v>0.68200075797063997</c:v>
                </c:pt>
                <c:pt idx="3">
                  <c:v>0.67746787129753006</c:v>
                </c:pt>
                <c:pt idx="4">
                  <c:v>0.68506504157737991</c:v>
                </c:pt>
                <c:pt idx="5">
                  <c:v>0.7326060498438296</c:v>
                </c:pt>
                <c:pt idx="6">
                  <c:v>0.73576044366675197</c:v>
                </c:pt>
                <c:pt idx="7">
                  <c:v>0.71224064415675359</c:v>
                </c:pt>
                <c:pt idx="8">
                  <c:v>0.67144765954631658</c:v>
                </c:pt>
                <c:pt idx="9">
                  <c:v>0.68907573127255495</c:v>
                </c:pt>
                <c:pt idx="10">
                  <c:v>0.613814780503663</c:v>
                </c:pt>
                <c:pt idx="11">
                  <c:v>0.54091989977225807</c:v>
                </c:pt>
              </c:numCache>
            </c:numRef>
          </c:val>
          <c:smooth val="0"/>
          <c:extLst>
            <c:ext xmlns:c16="http://schemas.microsoft.com/office/drawing/2014/chart" uri="{C3380CC4-5D6E-409C-BE32-E72D297353CC}">
              <c16:uniqueId val="{00000000-8E9D-49D5-AF14-499FF1F4A562}"/>
            </c:ext>
          </c:extLst>
        </c:ser>
        <c:ser>
          <c:idx val="1"/>
          <c:order val="1"/>
          <c:tx>
            <c:strRef>
              <c:f>Sheet1!$D$1</c:f>
              <c:strCache>
                <c:ptCount val="1"/>
                <c:pt idx="0">
                  <c:v>2021</c:v>
                </c:pt>
              </c:strCache>
            </c:strRef>
          </c:tx>
          <c:spPr>
            <a:ln w="28575" cap="rnd">
              <a:solidFill>
                <a:schemeClr val="tx2">
                  <a:lumMod val="50000"/>
                </a:schemeClr>
              </a:solidFill>
              <a:round/>
            </a:ln>
            <a:effectLst/>
          </c:spPr>
          <c:marker>
            <c:symbol val="none"/>
          </c:marker>
          <c:cat>
            <c:strRef>
              <c:f>Sheet1!$B$2:$B$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0.0%</c:formatCode>
                <c:ptCount val="12"/>
                <c:pt idx="0">
                  <c:v>0.38988254387497551</c:v>
                </c:pt>
                <c:pt idx="1">
                  <c:v>0.45176775960487386</c:v>
                </c:pt>
                <c:pt idx="2">
                  <c:v>0.54264122977562168</c:v>
                </c:pt>
                <c:pt idx="3">
                  <c:v>0.57335159334466623</c:v>
                </c:pt>
                <c:pt idx="4">
                  <c:v>0.59146383913783185</c:v>
                </c:pt>
                <c:pt idx="5">
                  <c:v>0.66007939970206875</c:v>
                </c:pt>
                <c:pt idx="6">
                  <c:v>0.69477326295306374</c:v>
                </c:pt>
                <c:pt idx="7">
                  <c:v>0.63150811544337171</c:v>
                </c:pt>
                <c:pt idx="8">
                  <c:v>0.61516597190029199</c:v>
                </c:pt>
                <c:pt idx="9">
                  <c:v>0.62808943475938017</c:v>
                </c:pt>
                <c:pt idx="10">
                  <c:v>0.57535218476967542</c:v>
                </c:pt>
                <c:pt idx="11">
                  <c:v>0.53268090513892918</c:v>
                </c:pt>
              </c:numCache>
            </c:numRef>
          </c:val>
          <c:smooth val="0"/>
          <c:extLst>
            <c:ext xmlns:c16="http://schemas.microsoft.com/office/drawing/2014/chart" uri="{C3380CC4-5D6E-409C-BE32-E72D297353CC}">
              <c16:uniqueId val="{00000000-FA59-42FF-B2D4-5E3143538B6B}"/>
            </c:ext>
          </c:extLst>
        </c:ser>
        <c:ser>
          <c:idx val="2"/>
          <c:order val="2"/>
          <c:tx>
            <c:strRef>
              <c:f>Sheet1!$E$1</c:f>
              <c:strCache>
                <c:ptCount val="1"/>
                <c:pt idx="0">
                  <c:v>2022</c:v>
                </c:pt>
              </c:strCache>
            </c:strRef>
          </c:tx>
          <c:spPr>
            <a:ln w="28575" cap="rnd">
              <a:solidFill>
                <a:schemeClr val="accent1"/>
              </a:solidFill>
              <a:round/>
            </a:ln>
            <a:effectLst/>
          </c:spPr>
          <c:marker>
            <c:symbol val="square"/>
            <c:size val="9"/>
            <c:spPr>
              <a:solidFill>
                <a:schemeClr val="accent1"/>
              </a:solidFill>
              <a:ln w="9525">
                <a:solidFill>
                  <a:schemeClr val="accent1"/>
                </a:solidFill>
              </a:ln>
              <a:effectLst/>
            </c:spPr>
          </c:marker>
          <c:cat>
            <c:strRef>
              <c:f>Sheet1!$B$2:$B$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0.0%</c:formatCode>
                <c:ptCount val="12"/>
                <c:pt idx="0">
                  <c:v>0.4770950747927547</c:v>
                </c:pt>
                <c:pt idx="1">
                  <c:v>0.56903569513760821</c:v>
                </c:pt>
                <c:pt idx="2">
                  <c:v>0.6394789456784431</c:v>
                </c:pt>
                <c:pt idx="3">
                  <c:v>0.65490806772916166</c:v>
                </c:pt>
                <c:pt idx="4">
                  <c:v>0.65041754202617541</c:v>
                </c:pt>
                <c:pt idx="5">
                  <c:v>0.70073291071004562</c:v>
                </c:pt>
                <c:pt idx="6">
                  <c:v>0.69603005428466924</c:v>
                </c:pt>
              </c:numCache>
            </c:numRef>
          </c:val>
          <c:smooth val="0"/>
          <c:extLst>
            <c:ext xmlns:c16="http://schemas.microsoft.com/office/drawing/2014/chart" uri="{C3380CC4-5D6E-409C-BE32-E72D297353CC}">
              <c16:uniqueId val="{00000001-FA59-42FF-B2D4-5E3143538B6B}"/>
            </c:ext>
          </c:extLst>
        </c:ser>
        <c:dLbls>
          <c:showLegendKey val="0"/>
          <c:showVal val="0"/>
          <c:showCatName val="0"/>
          <c:showSerName val="0"/>
          <c:showPercent val="0"/>
          <c:showBubbleSize val="0"/>
        </c:dLbls>
        <c:smooth val="0"/>
        <c:axId val="415531200"/>
        <c:axId val="415533552"/>
        <c:extLst>
          <c:ext xmlns:c15="http://schemas.microsoft.com/office/drawing/2012/chart" uri="{02D57815-91ED-43cb-92C2-25804820EDAC}">
            <c15:filteredLineSeries>
              <c15:ser>
                <c:idx val="3"/>
                <c:order val="3"/>
                <c:tx>
                  <c:strRef>
                    <c:extLst>
                      <c:ext uri="{02D57815-91ED-43cb-92C2-25804820EDAC}">
                        <c15:formulaRef>
                          <c15:sqref>Sheet1!$F$1</c15:sqref>
                        </c15:formulaRef>
                      </c:ext>
                    </c:extLst>
                    <c:strCache>
                      <c:ptCount val="1"/>
                      <c:pt idx="0">
                        <c:v>Column1</c:v>
                      </c:pt>
                    </c:strCache>
                  </c:strRef>
                </c:tx>
                <c:spPr>
                  <a:ln w="28575" cap="rnd">
                    <a:solidFill>
                      <a:schemeClr val="accent2">
                        <a:lumMod val="40000"/>
                        <a:lumOff val="60000"/>
                      </a:schemeClr>
                    </a:solidFill>
                    <a:round/>
                  </a:ln>
                  <a:effectLst/>
                </c:spPr>
                <c:marker>
                  <c:symbol val="none"/>
                </c:marker>
                <c:cat>
                  <c:strRef>
                    <c:extLst>
                      <c:ext uri="{02D57815-91ED-43cb-92C2-25804820EDAC}">
                        <c15:formulaRef>
                          <c15:sqref>Sheet1!$B$2:$B$13</c15:sqref>
                        </c15:formulaRef>
                      </c:ext>
                    </c:extLst>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extLst>
                      <c:ext uri="{02D57815-91ED-43cb-92C2-25804820EDAC}">
                        <c15:formulaRef>
                          <c15:sqref>Sheet1!$F$2:$F$13</c15:sqref>
                        </c15:formulaRef>
                      </c:ext>
                    </c:extLst>
                    <c:numCache>
                      <c:formatCode>General</c:formatCode>
                      <c:ptCount val="12"/>
                    </c:numCache>
                  </c:numRef>
                </c:val>
                <c:smooth val="0"/>
                <c:extLst>
                  <c:ext xmlns:c16="http://schemas.microsoft.com/office/drawing/2014/chart" uri="{C3380CC4-5D6E-409C-BE32-E72D297353CC}">
                    <c16:uniqueId val="{00000002-FA59-42FF-B2D4-5E3143538B6B}"/>
                  </c:ext>
                </c:extLst>
              </c15:ser>
            </c15:filteredLineSeries>
          </c:ext>
        </c:extLst>
      </c:lineChart>
      <c:catAx>
        <c:axId val="415531200"/>
        <c:scaling>
          <c:orientation val="minMax"/>
        </c:scaling>
        <c:delete val="0"/>
        <c:axPos val="b"/>
        <c:numFmt formatCode="General" sourceLinked="0"/>
        <c:majorTickMark val="out"/>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1400" b="1" i="0" u="none" strike="noStrike" kern="1200" baseline="0">
                <a:solidFill>
                  <a:schemeClr val="tx1"/>
                </a:solidFill>
                <a:latin typeface="+mn-lt"/>
                <a:ea typeface="+mn-ea"/>
                <a:cs typeface="+mn-cs"/>
              </a:defRPr>
            </a:pPr>
            <a:endParaRPr lang="en-US"/>
          </a:p>
        </c:txPr>
        <c:crossAx val="415533552"/>
        <c:crosses val="autoZero"/>
        <c:auto val="0"/>
        <c:lblAlgn val="ctr"/>
        <c:lblOffset val="100"/>
        <c:noMultiLvlLbl val="0"/>
      </c:catAx>
      <c:valAx>
        <c:axId val="415533552"/>
        <c:scaling>
          <c:orientation val="minMax"/>
          <c:min val="0.30000000000000004"/>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solidFill>
              <a:schemeClr val="tx1">
                <a:lumMod val="50000"/>
              </a:schemeClr>
            </a:solidFill>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415531200"/>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172623324551364E-2"/>
          <c:y val="0.11977475151671615"/>
          <c:w val="0.94533384783245067"/>
          <c:h val="0.73727636504453342"/>
        </c:manualLayout>
      </c:layout>
      <c:barChart>
        <c:barDir val="col"/>
        <c:grouping val="clustered"/>
        <c:varyColors val="0"/>
        <c:ser>
          <c:idx val="2"/>
          <c:order val="0"/>
          <c:tx>
            <c:v>2019</c:v>
          </c:tx>
          <c:spPr>
            <a:solidFill>
              <a:schemeClr val="bg1">
                <a:lumMod val="75000"/>
              </a:schemeClr>
            </a:solidFill>
            <a:ln>
              <a:solidFill>
                <a:schemeClr val="bg1">
                  <a:lumMod val="75000"/>
                </a:schemeClr>
              </a:solidFill>
            </a:ln>
          </c:spPr>
          <c:invertIfNegative val="0"/>
          <c:val>
            <c:numRef>
              <c:f>Sheet1!$D$2:$D$19</c:f>
              <c:numCache>
                <c:formatCode>0.0%</c:formatCode>
                <c:ptCount val="18"/>
                <c:pt idx="0">
                  <c:v>0.70609999999999995</c:v>
                </c:pt>
                <c:pt idx="1">
                  <c:v>0.78559999999999997</c:v>
                </c:pt>
                <c:pt idx="2">
                  <c:v>0.80549999999999999</c:v>
                </c:pt>
                <c:pt idx="3">
                  <c:v>0.79910000000000003</c:v>
                </c:pt>
                <c:pt idx="4">
                  <c:v>0.82489999999999997</c:v>
                </c:pt>
                <c:pt idx="5">
                  <c:v>0.79449999999999998</c:v>
                </c:pt>
              </c:numCache>
            </c:numRef>
          </c:val>
          <c:extLst>
            <c:ext xmlns:c16="http://schemas.microsoft.com/office/drawing/2014/chart" uri="{C3380CC4-5D6E-409C-BE32-E72D297353CC}">
              <c16:uniqueId val="{00000000-AD56-454B-91EA-7DC509094B8C}"/>
            </c:ext>
          </c:extLst>
        </c:ser>
        <c:ser>
          <c:idx val="0"/>
          <c:order val="1"/>
          <c:tx>
            <c:strRef>
              <c:f>Sheet1!$C$1</c:f>
              <c:strCache>
                <c:ptCount val="1"/>
                <c:pt idx="0">
                  <c:v>CBDs</c:v>
                </c:pt>
              </c:strCache>
            </c:strRef>
          </c:tx>
          <c:spPr>
            <a:solidFill>
              <a:schemeClr val="accent1"/>
            </a:solidFill>
            <a:ln w="9525">
              <a:solidFill>
                <a:schemeClr val="accent1"/>
              </a:solidFill>
            </a:ln>
          </c:spPr>
          <c:invertIfNegative val="0"/>
          <c:cat>
            <c:multiLvlStrRef>
              <c:f>Sheet1!$A$2:$B$19</c:f>
              <c:multiLvlStrCache>
                <c:ptCount val="18"/>
                <c:lvl>
                  <c:pt idx="0">
                    <c:v>Feb</c:v>
                  </c:pt>
                  <c:pt idx="1">
                    <c:v>Mar</c:v>
                  </c:pt>
                  <c:pt idx="2">
                    <c:v>Apr</c:v>
                  </c:pt>
                  <c:pt idx="3">
                    <c:v>May</c:v>
                  </c:pt>
                  <c:pt idx="4">
                    <c:v>Jun</c:v>
                  </c:pt>
                  <c:pt idx="5">
                    <c:v>Jul</c:v>
                  </c:pt>
                  <c:pt idx="6">
                    <c:v>Feb</c:v>
                  </c:pt>
                  <c:pt idx="7">
                    <c:v>Mar</c:v>
                  </c:pt>
                  <c:pt idx="8">
                    <c:v>Apr</c:v>
                  </c:pt>
                  <c:pt idx="9">
                    <c:v>May</c:v>
                  </c:pt>
                  <c:pt idx="10">
                    <c:v>Jun</c:v>
                  </c:pt>
                  <c:pt idx="11">
                    <c:v>Jul</c:v>
                  </c:pt>
                  <c:pt idx="12">
                    <c:v>Feb</c:v>
                  </c:pt>
                  <c:pt idx="13">
                    <c:v>Mar</c:v>
                  </c:pt>
                  <c:pt idx="14">
                    <c:v>Apr</c:v>
                  </c:pt>
                  <c:pt idx="15">
                    <c:v>May</c:v>
                  </c:pt>
                  <c:pt idx="16">
                    <c:v>Jun</c:v>
                  </c:pt>
                  <c:pt idx="17">
                    <c:v>Jul</c:v>
                  </c:pt>
                </c:lvl>
                <c:lvl>
                  <c:pt idx="0">
                    <c:v>Central Business Districts</c:v>
                  </c:pt>
                  <c:pt idx="6">
                    <c:v>Top 25 Markets</c:v>
                  </c:pt>
                  <c:pt idx="12">
                    <c:v>Other Markets</c:v>
                  </c:pt>
                </c:lvl>
              </c:multiLvlStrCache>
            </c:multiLvlStrRef>
          </c:cat>
          <c:val>
            <c:numRef>
              <c:f>Sheet1!$C$2:$C$19</c:f>
              <c:numCache>
                <c:formatCode>0.0%</c:formatCode>
                <c:ptCount val="18"/>
                <c:pt idx="0">
                  <c:v>0.50980000000000003</c:v>
                </c:pt>
                <c:pt idx="1">
                  <c:v>0.64070000000000005</c:v>
                </c:pt>
                <c:pt idx="2">
                  <c:v>0.69099999999999995</c:v>
                </c:pt>
                <c:pt idx="3">
                  <c:v>0.69210000000000005</c:v>
                </c:pt>
                <c:pt idx="4">
                  <c:v>0.72940000000000005</c:v>
                </c:pt>
                <c:pt idx="5">
                  <c:v>0.69569999999999999</c:v>
                </c:pt>
              </c:numCache>
            </c:numRef>
          </c:val>
          <c:extLst>
            <c:ext xmlns:c16="http://schemas.microsoft.com/office/drawing/2014/chart" uri="{C3380CC4-5D6E-409C-BE32-E72D297353CC}">
              <c16:uniqueId val="{00000001-AD56-454B-91EA-7DC509094B8C}"/>
            </c:ext>
          </c:extLst>
        </c:ser>
        <c:ser>
          <c:idx val="3"/>
          <c:order val="2"/>
          <c:tx>
            <c:v>2019</c:v>
          </c:tx>
          <c:spPr>
            <a:solidFill>
              <a:schemeClr val="bg1">
                <a:lumMod val="75000"/>
              </a:schemeClr>
            </a:solidFill>
            <a:ln>
              <a:solidFill>
                <a:schemeClr val="bg1">
                  <a:lumMod val="75000"/>
                </a:schemeClr>
              </a:solidFill>
            </a:ln>
          </c:spPr>
          <c:invertIfNegative val="0"/>
          <c:val>
            <c:numRef>
              <c:f>Sheet1!$F$2:$F$19</c:f>
              <c:numCache>
                <c:formatCode>General</c:formatCode>
                <c:ptCount val="18"/>
                <c:pt idx="6" formatCode="0.00%">
                  <c:v>0.70430000000000004</c:v>
                </c:pt>
                <c:pt idx="7" formatCode="0.00%">
                  <c:v>0.76459999999999995</c:v>
                </c:pt>
                <c:pt idx="8" formatCode="0.00%">
                  <c:v>0.76249999999999996</c:v>
                </c:pt>
                <c:pt idx="9" formatCode="0.00%">
                  <c:v>0.75560000000000005</c:v>
                </c:pt>
                <c:pt idx="10" formatCode="0.00%">
                  <c:v>0.78969999999999996</c:v>
                </c:pt>
                <c:pt idx="11" formatCode="0.00%">
                  <c:v>0.77910000000000001</c:v>
                </c:pt>
              </c:numCache>
            </c:numRef>
          </c:val>
          <c:extLst>
            <c:ext xmlns:c16="http://schemas.microsoft.com/office/drawing/2014/chart" uri="{C3380CC4-5D6E-409C-BE32-E72D297353CC}">
              <c16:uniqueId val="{00000002-AD56-454B-91EA-7DC509094B8C}"/>
            </c:ext>
          </c:extLst>
        </c:ser>
        <c:ser>
          <c:idx val="1"/>
          <c:order val="3"/>
          <c:tx>
            <c:strRef>
              <c:f>Sheet1!$E$1</c:f>
              <c:strCache>
                <c:ptCount val="1"/>
                <c:pt idx="0">
                  <c:v>Top 25</c:v>
                </c:pt>
              </c:strCache>
            </c:strRef>
          </c:tx>
          <c:spPr>
            <a:solidFill>
              <a:schemeClr val="accent1">
                <a:lumMod val="75000"/>
              </a:schemeClr>
            </a:solidFill>
            <a:ln>
              <a:solidFill>
                <a:schemeClr val="accent1">
                  <a:lumMod val="75000"/>
                </a:schemeClr>
              </a:solidFill>
            </a:ln>
          </c:spPr>
          <c:invertIfNegative val="0"/>
          <c:cat>
            <c:multiLvlStrRef>
              <c:f>Sheet1!$A$2:$B$19</c:f>
              <c:multiLvlStrCache>
                <c:ptCount val="18"/>
                <c:lvl>
                  <c:pt idx="0">
                    <c:v>Feb</c:v>
                  </c:pt>
                  <c:pt idx="1">
                    <c:v>Mar</c:v>
                  </c:pt>
                  <c:pt idx="2">
                    <c:v>Apr</c:v>
                  </c:pt>
                  <c:pt idx="3">
                    <c:v>May</c:v>
                  </c:pt>
                  <c:pt idx="4">
                    <c:v>Jun</c:v>
                  </c:pt>
                  <c:pt idx="5">
                    <c:v>Jul</c:v>
                  </c:pt>
                  <c:pt idx="6">
                    <c:v>Feb</c:v>
                  </c:pt>
                  <c:pt idx="7">
                    <c:v>Mar</c:v>
                  </c:pt>
                  <c:pt idx="8">
                    <c:v>Apr</c:v>
                  </c:pt>
                  <c:pt idx="9">
                    <c:v>May</c:v>
                  </c:pt>
                  <c:pt idx="10">
                    <c:v>Jun</c:v>
                  </c:pt>
                  <c:pt idx="11">
                    <c:v>Jul</c:v>
                  </c:pt>
                  <c:pt idx="12">
                    <c:v>Feb</c:v>
                  </c:pt>
                  <c:pt idx="13">
                    <c:v>Mar</c:v>
                  </c:pt>
                  <c:pt idx="14">
                    <c:v>Apr</c:v>
                  </c:pt>
                  <c:pt idx="15">
                    <c:v>May</c:v>
                  </c:pt>
                  <c:pt idx="16">
                    <c:v>Jun</c:v>
                  </c:pt>
                  <c:pt idx="17">
                    <c:v>Jul</c:v>
                  </c:pt>
                </c:lvl>
                <c:lvl>
                  <c:pt idx="0">
                    <c:v>Central Business Districts</c:v>
                  </c:pt>
                  <c:pt idx="6">
                    <c:v>Top 25 Markets</c:v>
                  </c:pt>
                  <c:pt idx="12">
                    <c:v>Other Markets</c:v>
                  </c:pt>
                </c:lvl>
              </c:multiLvlStrCache>
            </c:multiLvlStrRef>
          </c:cat>
          <c:val>
            <c:numRef>
              <c:f>Sheet1!$E$2:$E$19</c:f>
              <c:numCache>
                <c:formatCode>General</c:formatCode>
                <c:ptCount val="18"/>
                <c:pt idx="6" formatCode="0.0%">
                  <c:v>0.59379999999999999</c:v>
                </c:pt>
                <c:pt idx="7" formatCode="0.0%">
                  <c:v>0.68100000000000005</c:v>
                </c:pt>
                <c:pt idx="8" formatCode="0.0%">
                  <c:v>0.70609999999999995</c:v>
                </c:pt>
                <c:pt idx="9" formatCode="0.0%">
                  <c:v>0.69630000000000003</c:v>
                </c:pt>
                <c:pt idx="10" formatCode="0.0%">
                  <c:v>0.73499999999999999</c:v>
                </c:pt>
                <c:pt idx="11" formatCode="0.0%">
                  <c:v>0.71819999999999995</c:v>
                </c:pt>
              </c:numCache>
            </c:numRef>
          </c:val>
          <c:extLst>
            <c:ext xmlns:c16="http://schemas.microsoft.com/office/drawing/2014/chart" uri="{C3380CC4-5D6E-409C-BE32-E72D297353CC}">
              <c16:uniqueId val="{00000003-AD56-454B-91EA-7DC509094B8C}"/>
            </c:ext>
          </c:extLst>
        </c:ser>
        <c:ser>
          <c:idx val="4"/>
          <c:order val="4"/>
          <c:tx>
            <c:v>2019</c:v>
          </c:tx>
          <c:spPr>
            <a:solidFill>
              <a:schemeClr val="bg1">
                <a:lumMod val="75000"/>
              </a:schemeClr>
            </a:solidFill>
            <a:ln>
              <a:solidFill>
                <a:schemeClr val="bg1">
                  <a:lumMod val="75000"/>
                </a:schemeClr>
              </a:solidFill>
            </a:ln>
          </c:spPr>
          <c:invertIfNegative val="0"/>
          <c:val>
            <c:numRef>
              <c:f>Sheet1!$H$2:$H$19</c:f>
              <c:numCache>
                <c:formatCode>General</c:formatCode>
                <c:ptCount val="18"/>
                <c:pt idx="12" formatCode="0.00%">
                  <c:v>0.57940000000000003</c:v>
                </c:pt>
                <c:pt idx="13" formatCode="0.00%">
                  <c:v>0.64229999999999998</c:v>
                </c:pt>
                <c:pt idx="14" formatCode="0.00%">
                  <c:v>0.63670000000000004</c:v>
                </c:pt>
                <c:pt idx="15" formatCode="0.00%">
                  <c:v>0.65149999999999997</c:v>
                </c:pt>
                <c:pt idx="16" formatCode="0.00%">
                  <c:v>0.70540000000000003</c:v>
                </c:pt>
                <c:pt idx="17" formatCode="0.00%">
                  <c:v>0.71519999999999995</c:v>
                </c:pt>
              </c:numCache>
            </c:numRef>
          </c:val>
          <c:extLst>
            <c:ext xmlns:c16="http://schemas.microsoft.com/office/drawing/2014/chart" uri="{C3380CC4-5D6E-409C-BE32-E72D297353CC}">
              <c16:uniqueId val="{00000004-AD56-454B-91EA-7DC509094B8C}"/>
            </c:ext>
          </c:extLst>
        </c:ser>
        <c:ser>
          <c:idx val="5"/>
          <c:order val="5"/>
          <c:tx>
            <c:strRef>
              <c:f>Sheet1!$G$1</c:f>
              <c:strCache>
                <c:ptCount val="1"/>
                <c:pt idx="0">
                  <c:v>Total US</c:v>
                </c:pt>
              </c:strCache>
            </c:strRef>
          </c:tx>
          <c:spPr>
            <a:solidFill>
              <a:schemeClr val="accent1">
                <a:lumMod val="50000"/>
              </a:schemeClr>
            </a:solidFill>
            <a:ln>
              <a:solidFill>
                <a:schemeClr val="accent1">
                  <a:lumMod val="50000"/>
                </a:schemeClr>
              </a:solidFill>
            </a:ln>
          </c:spPr>
          <c:invertIfNegative val="0"/>
          <c:cat>
            <c:multiLvlStrRef>
              <c:f>Sheet1!$A$2:$B$19</c:f>
              <c:multiLvlStrCache>
                <c:ptCount val="18"/>
                <c:lvl>
                  <c:pt idx="0">
                    <c:v>Feb</c:v>
                  </c:pt>
                  <c:pt idx="1">
                    <c:v>Mar</c:v>
                  </c:pt>
                  <c:pt idx="2">
                    <c:v>Apr</c:v>
                  </c:pt>
                  <c:pt idx="3">
                    <c:v>May</c:v>
                  </c:pt>
                  <c:pt idx="4">
                    <c:v>Jun</c:v>
                  </c:pt>
                  <c:pt idx="5">
                    <c:v>Jul</c:v>
                  </c:pt>
                  <c:pt idx="6">
                    <c:v>Feb</c:v>
                  </c:pt>
                  <c:pt idx="7">
                    <c:v>Mar</c:v>
                  </c:pt>
                  <c:pt idx="8">
                    <c:v>Apr</c:v>
                  </c:pt>
                  <c:pt idx="9">
                    <c:v>May</c:v>
                  </c:pt>
                  <c:pt idx="10">
                    <c:v>Jun</c:v>
                  </c:pt>
                  <c:pt idx="11">
                    <c:v>Jul</c:v>
                  </c:pt>
                  <c:pt idx="12">
                    <c:v>Feb</c:v>
                  </c:pt>
                  <c:pt idx="13">
                    <c:v>Mar</c:v>
                  </c:pt>
                  <c:pt idx="14">
                    <c:v>Apr</c:v>
                  </c:pt>
                  <c:pt idx="15">
                    <c:v>May</c:v>
                  </c:pt>
                  <c:pt idx="16">
                    <c:v>Jun</c:v>
                  </c:pt>
                  <c:pt idx="17">
                    <c:v>Jul</c:v>
                  </c:pt>
                </c:lvl>
                <c:lvl>
                  <c:pt idx="0">
                    <c:v>Central Business Districts</c:v>
                  </c:pt>
                  <c:pt idx="6">
                    <c:v>Top 25 Markets</c:v>
                  </c:pt>
                  <c:pt idx="12">
                    <c:v>Other Markets</c:v>
                  </c:pt>
                </c:lvl>
              </c:multiLvlStrCache>
            </c:multiLvlStrRef>
          </c:cat>
          <c:val>
            <c:numRef>
              <c:f>Sheet1!$G$2:$G$19</c:f>
              <c:numCache>
                <c:formatCode>General</c:formatCode>
                <c:ptCount val="18"/>
                <c:pt idx="12" formatCode="0.0%">
                  <c:v>0.55700000000000005</c:v>
                </c:pt>
                <c:pt idx="13" formatCode="0.0%">
                  <c:v>0.61939999999999995</c:v>
                </c:pt>
                <c:pt idx="14" formatCode="0.0%">
                  <c:v>0.63029999999999997</c:v>
                </c:pt>
                <c:pt idx="15" formatCode="0.0%">
                  <c:v>0.62839999999999996</c:v>
                </c:pt>
                <c:pt idx="16" formatCode="0.0%">
                  <c:v>0.68400000000000005</c:v>
                </c:pt>
                <c:pt idx="17" formatCode="0.0%">
                  <c:v>0.68540000000000001</c:v>
                </c:pt>
              </c:numCache>
            </c:numRef>
          </c:val>
          <c:extLst>
            <c:ext xmlns:c16="http://schemas.microsoft.com/office/drawing/2014/chart" uri="{C3380CC4-5D6E-409C-BE32-E72D297353CC}">
              <c16:uniqueId val="{00000005-AD56-454B-91EA-7DC509094B8C}"/>
            </c:ext>
          </c:extLst>
        </c:ser>
        <c:dLbls>
          <c:showLegendKey val="0"/>
          <c:showVal val="0"/>
          <c:showCatName val="0"/>
          <c:showSerName val="0"/>
          <c:showPercent val="0"/>
          <c:showBubbleSize val="0"/>
        </c:dLbls>
        <c:gapWidth val="0"/>
        <c:overlap val="80"/>
        <c:axId val="382568736"/>
        <c:axId val="382569520"/>
      </c:barChart>
      <c:catAx>
        <c:axId val="382568736"/>
        <c:scaling>
          <c:orientation val="minMax"/>
        </c:scaling>
        <c:delete val="0"/>
        <c:axPos val="b"/>
        <c:numFmt formatCode="[$-409]d\-mmm;@" sourceLinked="0"/>
        <c:majorTickMark val="none"/>
        <c:minorTickMark val="none"/>
        <c:tickLblPos val="low"/>
        <c:spPr>
          <a:ln w="3368">
            <a:solidFill>
              <a:schemeClr val="tx1"/>
            </a:solidFill>
            <a:prstDash val="solid"/>
          </a:ln>
        </c:spPr>
        <c:txPr>
          <a:bodyPr rot="0" vert="horz"/>
          <a:lstStyle/>
          <a:p>
            <a:pPr>
              <a:defRPr sz="1200" b="1" i="0" u="none" strike="noStrike" baseline="0">
                <a:solidFill>
                  <a:schemeClr val="tx1"/>
                </a:solidFill>
                <a:latin typeface="+mn-lt"/>
                <a:ea typeface="Arial"/>
                <a:cs typeface="Arial"/>
              </a:defRPr>
            </a:pPr>
            <a:endParaRPr lang="en-US"/>
          </a:p>
        </c:txPr>
        <c:crossAx val="382569520"/>
        <c:crosses val="autoZero"/>
        <c:auto val="0"/>
        <c:lblAlgn val="ctr"/>
        <c:lblOffset val="100"/>
        <c:tickLblSkip val="1"/>
        <c:noMultiLvlLbl val="0"/>
      </c:catAx>
      <c:valAx>
        <c:axId val="382569520"/>
        <c:scaling>
          <c:orientation val="minMax"/>
          <c:min val="0.35000000000000003"/>
        </c:scaling>
        <c:delete val="0"/>
        <c:axPos val="l"/>
        <c:majorGridlines/>
        <c:numFmt formatCode="0%" sourceLinked="0"/>
        <c:majorTickMark val="out"/>
        <c:minorTickMark val="none"/>
        <c:tickLblPos val="nextTo"/>
        <c:txPr>
          <a:bodyPr/>
          <a:lstStyle/>
          <a:p>
            <a:pPr>
              <a:defRPr sz="1400">
                <a:latin typeface="+mn-lt"/>
              </a:defRPr>
            </a:pPr>
            <a:endParaRPr lang="en-US"/>
          </a:p>
        </c:txPr>
        <c:crossAx val="382568736"/>
        <c:crosses val="autoZero"/>
        <c:crossBetween val="between"/>
      </c:valAx>
      <c:spPr>
        <a:noFill/>
        <a:ln w="25400">
          <a:noFill/>
        </a:ln>
      </c:spPr>
    </c:plotArea>
    <c:legend>
      <c:legendPos val="t"/>
      <c:legendEntry>
        <c:idx val="2"/>
        <c:delete val="1"/>
      </c:legendEntry>
      <c:legendEntry>
        <c:idx val="4"/>
        <c:delete val="1"/>
      </c:legendEntry>
      <c:overlay val="0"/>
      <c:txPr>
        <a:bodyPr/>
        <a:lstStyle/>
        <a:p>
          <a:pPr>
            <a:defRPr sz="1400">
              <a:latin typeface="+mn-lt"/>
            </a:defRPr>
          </a:pPr>
          <a:endParaRPr lang="en-US"/>
        </a:p>
      </c:txPr>
    </c:legend>
    <c:plotVisOnly val="1"/>
    <c:dispBlanksAs val="gap"/>
    <c:showDLblsOverMax val="0"/>
  </c:chart>
  <c:spPr>
    <a:noFill/>
    <a:ln>
      <a:noFill/>
    </a:ln>
  </c:spPr>
  <c:txPr>
    <a:bodyPr/>
    <a:lstStyle/>
    <a:p>
      <a:pPr>
        <a:defRPr sz="1909" b="1" i="0" u="none" strike="noStrike" baseline="0">
          <a:solidFill>
            <a:schemeClr val="tx1"/>
          </a:solidFill>
          <a:latin typeface="Times New Roman"/>
          <a:ea typeface="Times New Roman"/>
          <a:cs typeface="Times New Roman"/>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943395297083456E-2"/>
          <c:y val="0.10335050326382125"/>
          <c:w val="0.9299108268276246"/>
          <c:h val="0.65285924453639088"/>
        </c:manualLayout>
      </c:layout>
      <c:barChart>
        <c:barDir val="col"/>
        <c:grouping val="clustered"/>
        <c:varyColors val="0"/>
        <c:ser>
          <c:idx val="0"/>
          <c:order val="0"/>
          <c:tx>
            <c:strRef>
              <c:f>Sheet1!$B$1</c:f>
              <c:strCache>
                <c:ptCount val="1"/>
                <c:pt idx="0">
                  <c:v>Nominal ADR</c:v>
                </c:pt>
              </c:strCache>
            </c:strRef>
          </c:tx>
          <c:spPr>
            <a:solidFill>
              <a:schemeClr val="bg1">
                <a:lumMod val="75000"/>
              </a:schemeClr>
            </a:solidFill>
            <a:ln w="9525">
              <a:solidFill>
                <a:schemeClr val="bg1">
                  <a:lumMod val="75000"/>
                </a:schemeClr>
              </a:solidFill>
            </a:ln>
          </c:spPr>
          <c:invertIfNegative val="0"/>
          <c:dPt>
            <c:idx val="23"/>
            <c:invertIfNegative val="0"/>
            <c:bubble3D val="0"/>
            <c:spPr>
              <a:solidFill>
                <a:schemeClr val="accent2"/>
              </a:solidFill>
              <a:ln w="9525">
                <a:solidFill>
                  <a:schemeClr val="accent2"/>
                </a:solidFill>
              </a:ln>
            </c:spPr>
            <c:extLst>
              <c:ext xmlns:c16="http://schemas.microsoft.com/office/drawing/2014/chart" uri="{C3380CC4-5D6E-409C-BE32-E72D297353CC}">
                <c16:uniqueId val="{00000000-E2E1-4618-AAFE-B8D2FE802132}"/>
              </c:ext>
            </c:extLst>
          </c:dPt>
          <c:dPt>
            <c:idx val="24"/>
            <c:invertIfNegative val="0"/>
            <c:bubble3D val="0"/>
            <c:spPr>
              <a:solidFill>
                <a:schemeClr val="accent2"/>
              </a:solidFill>
              <a:ln w="9525">
                <a:solidFill>
                  <a:schemeClr val="accent2"/>
                </a:solidFill>
              </a:ln>
            </c:spPr>
            <c:extLst>
              <c:ext xmlns:c16="http://schemas.microsoft.com/office/drawing/2014/chart" uri="{C3380CC4-5D6E-409C-BE32-E72D297353CC}">
                <c16:uniqueId val="{00000001-E2E1-4618-AAFE-B8D2FE802132}"/>
              </c:ext>
            </c:extLst>
          </c:dPt>
          <c:dPt>
            <c:idx val="25"/>
            <c:invertIfNegative val="0"/>
            <c:bubble3D val="0"/>
            <c:spPr>
              <a:solidFill>
                <a:schemeClr val="accent2"/>
              </a:solidFill>
              <a:ln w="9525">
                <a:solidFill>
                  <a:schemeClr val="accent2"/>
                </a:solidFill>
              </a:ln>
            </c:spPr>
            <c:extLst>
              <c:ext xmlns:c16="http://schemas.microsoft.com/office/drawing/2014/chart" uri="{C3380CC4-5D6E-409C-BE32-E72D297353CC}">
                <c16:uniqueId val="{00000002-E2E1-4618-AAFE-B8D2FE802132}"/>
              </c:ext>
            </c:extLst>
          </c:dPt>
          <c:dPt>
            <c:idx val="26"/>
            <c:invertIfNegative val="0"/>
            <c:bubble3D val="0"/>
            <c:spPr>
              <a:solidFill>
                <a:schemeClr val="accent2"/>
              </a:solidFill>
              <a:ln w="9525">
                <a:solidFill>
                  <a:schemeClr val="accent2"/>
                </a:solidFill>
              </a:ln>
            </c:spPr>
            <c:extLst>
              <c:ext xmlns:c16="http://schemas.microsoft.com/office/drawing/2014/chart" uri="{C3380CC4-5D6E-409C-BE32-E72D297353CC}">
                <c16:uniqueId val="{00000007-961C-4E34-B8AD-C13380AF5E90}"/>
              </c:ext>
            </c:extLst>
          </c:dPt>
          <c:dPt>
            <c:idx val="27"/>
            <c:invertIfNegative val="0"/>
            <c:bubble3D val="0"/>
            <c:spPr>
              <a:solidFill>
                <a:schemeClr val="accent2"/>
              </a:solidFill>
              <a:ln w="9525">
                <a:solidFill>
                  <a:schemeClr val="accent2"/>
                </a:solidFill>
              </a:ln>
            </c:spPr>
            <c:extLst>
              <c:ext xmlns:c16="http://schemas.microsoft.com/office/drawing/2014/chart" uri="{C3380CC4-5D6E-409C-BE32-E72D297353CC}">
                <c16:uniqueId val="{00000009-C649-4A1F-90DB-6157317C4513}"/>
              </c:ext>
            </c:extLst>
          </c:dPt>
          <c:dPt>
            <c:idx val="28"/>
            <c:invertIfNegative val="0"/>
            <c:bubble3D val="0"/>
            <c:spPr>
              <a:solidFill>
                <a:schemeClr val="accent2"/>
              </a:solidFill>
              <a:ln w="9525">
                <a:solidFill>
                  <a:schemeClr val="accent2"/>
                </a:solidFill>
              </a:ln>
            </c:spPr>
            <c:extLst>
              <c:ext xmlns:c16="http://schemas.microsoft.com/office/drawing/2014/chart" uri="{C3380CC4-5D6E-409C-BE32-E72D297353CC}">
                <c16:uniqueId val="{0000000B-040B-4A9D-AEF3-C71A52F4960D}"/>
              </c:ext>
            </c:extLst>
          </c:dPt>
          <c:cat>
            <c:numRef>
              <c:f>Sheet1!$A$2:$A$30</c:f>
              <c:numCache>
                <c:formatCode>mmm\-yy</c:formatCode>
                <c:ptCount val="29"/>
                <c:pt idx="0">
                  <c:v>43891</c:v>
                </c:pt>
                <c:pt idx="1">
                  <c:v>43922</c:v>
                </c:pt>
                <c:pt idx="2">
                  <c:v>43952</c:v>
                </c:pt>
                <c:pt idx="3">
                  <c:v>43983</c:v>
                </c:pt>
                <c:pt idx="4">
                  <c:v>44013</c:v>
                </c:pt>
                <c:pt idx="5">
                  <c:v>44044</c:v>
                </c:pt>
                <c:pt idx="6">
                  <c:v>44075</c:v>
                </c:pt>
                <c:pt idx="7">
                  <c:v>44105</c:v>
                </c:pt>
                <c:pt idx="8">
                  <c:v>44136</c:v>
                </c:pt>
                <c:pt idx="9">
                  <c:v>44166</c:v>
                </c:pt>
                <c:pt idx="10">
                  <c:v>44197</c:v>
                </c:pt>
                <c:pt idx="11">
                  <c:v>44228</c:v>
                </c:pt>
                <c:pt idx="12">
                  <c:v>44256</c:v>
                </c:pt>
                <c:pt idx="13">
                  <c:v>44287</c:v>
                </c:pt>
                <c:pt idx="14">
                  <c:v>44317</c:v>
                </c:pt>
                <c:pt idx="15">
                  <c:v>44348</c:v>
                </c:pt>
                <c:pt idx="16">
                  <c:v>44378</c:v>
                </c:pt>
                <c:pt idx="17">
                  <c:v>44409</c:v>
                </c:pt>
                <c:pt idx="18">
                  <c:v>44440</c:v>
                </c:pt>
                <c:pt idx="19">
                  <c:v>44470</c:v>
                </c:pt>
                <c:pt idx="20">
                  <c:v>44501</c:v>
                </c:pt>
                <c:pt idx="21">
                  <c:v>44531</c:v>
                </c:pt>
                <c:pt idx="22">
                  <c:v>44562</c:v>
                </c:pt>
                <c:pt idx="23">
                  <c:v>44593</c:v>
                </c:pt>
                <c:pt idx="24">
                  <c:v>44621</c:v>
                </c:pt>
                <c:pt idx="25">
                  <c:v>44652</c:v>
                </c:pt>
                <c:pt idx="26">
                  <c:v>44682</c:v>
                </c:pt>
                <c:pt idx="27">
                  <c:v>44713</c:v>
                </c:pt>
                <c:pt idx="28">
                  <c:v>44743</c:v>
                </c:pt>
              </c:numCache>
            </c:numRef>
          </c:cat>
          <c:val>
            <c:numRef>
              <c:f>Sheet1!$B$2:$B$30</c:f>
              <c:numCache>
                <c:formatCode>0.0</c:formatCode>
                <c:ptCount val="29"/>
                <c:pt idx="0">
                  <c:v>83.788400424540015</c:v>
                </c:pt>
                <c:pt idx="1">
                  <c:v>55.773361698922287</c:v>
                </c:pt>
                <c:pt idx="2">
                  <c:v>60.216532868889672</c:v>
                </c:pt>
                <c:pt idx="3">
                  <c:v>69.043524219381041</c:v>
                </c:pt>
                <c:pt idx="4">
                  <c:v>76.007827467391678</c:v>
                </c:pt>
                <c:pt idx="5">
                  <c:v>77.754181679125239</c:v>
                </c:pt>
                <c:pt idx="6">
                  <c:v>75.469359471084957</c:v>
                </c:pt>
                <c:pt idx="7">
                  <c:v>73.4509985399134</c:v>
                </c:pt>
                <c:pt idx="8">
                  <c:v>72.65459122564647</c:v>
                </c:pt>
                <c:pt idx="9">
                  <c:v>72.696218430601149</c:v>
                </c:pt>
                <c:pt idx="10">
                  <c:v>73.35178637093523</c:v>
                </c:pt>
                <c:pt idx="11">
                  <c:v>76.911177450089923</c:v>
                </c:pt>
                <c:pt idx="12">
                  <c:v>80.675035046209302</c:v>
                </c:pt>
                <c:pt idx="13">
                  <c:v>84.362289886560049</c:v>
                </c:pt>
                <c:pt idx="14">
                  <c:v>89.500294847616644</c:v>
                </c:pt>
                <c:pt idx="15">
                  <c:v>96.614198554316161</c:v>
                </c:pt>
                <c:pt idx="16" formatCode="0">
                  <c:v>106.53334529254809</c:v>
                </c:pt>
                <c:pt idx="17" formatCode="0">
                  <c:v>103.76575763595967</c:v>
                </c:pt>
                <c:pt idx="18" formatCode="0">
                  <c:v>100.99212468603756</c:v>
                </c:pt>
                <c:pt idx="19" formatCode="0">
                  <c:v>101.38000585633795</c:v>
                </c:pt>
                <c:pt idx="20" formatCode="0">
                  <c:v>102.52080652374384</c:v>
                </c:pt>
                <c:pt idx="21" formatCode="0">
                  <c:v>106.90383564017267</c:v>
                </c:pt>
                <c:pt idx="22" formatCode="0">
                  <c:v>99.791521880994523</c:v>
                </c:pt>
                <c:pt idx="23" formatCode="0">
                  <c:v>107.18008629257349</c:v>
                </c:pt>
                <c:pt idx="24" formatCode="0">
                  <c:v>110.91105824814834</c:v>
                </c:pt>
                <c:pt idx="25" formatCode="0">
                  <c:v>113.98806238957442</c:v>
                </c:pt>
                <c:pt idx="26" formatCode="0">
                  <c:v>113.46885529803241</c:v>
                </c:pt>
                <c:pt idx="27" formatCode="0">
                  <c:v>115.39817632770497</c:v>
                </c:pt>
                <c:pt idx="28" formatCode="0">
                  <c:v>117.78011188486693</c:v>
                </c:pt>
              </c:numCache>
            </c:numRef>
          </c:val>
          <c:extLst>
            <c:ext xmlns:c16="http://schemas.microsoft.com/office/drawing/2014/chart" uri="{C3380CC4-5D6E-409C-BE32-E72D297353CC}">
              <c16:uniqueId val="{00000000-1007-4B9E-A0DC-9B743F4B5222}"/>
            </c:ext>
          </c:extLst>
        </c:ser>
        <c:dLbls>
          <c:showLegendKey val="0"/>
          <c:showVal val="0"/>
          <c:showCatName val="0"/>
          <c:showSerName val="0"/>
          <c:showPercent val="0"/>
          <c:showBubbleSize val="0"/>
        </c:dLbls>
        <c:gapWidth val="60"/>
        <c:axId val="382568736"/>
        <c:axId val="382569520"/>
      </c:barChart>
      <c:lineChart>
        <c:grouping val="standard"/>
        <c:varyColors val="0"/>
        <c:ser>
          <c:idx val="1"/>
          <c:order val="1"/>
          <c:tx>
            <c:strRef>
              <c:f>Sheet1!$C$1</c:f>
              <c:strCache>
                <c:ptCount val="1"/>
                <c:pt idx="0">
                  <c:v>Real ADR</c:v>
                </c:pt>
              </c:strCache>
            </c:strRef>
          </c:tx>
          <c:spPr>
            <a:ln w="76200">
              <a:solidFill>
                <a:srgbClr val="FFC000"/>
              </a:solidFill>
            </a:ln>
          </c:spPr>
          <c:marker>
            <c:symbol val="none"/>
          </c:marker>
          <c:cat>
            <c:numRef>
              <c:f>Sheet1!$A$2:$A$4</c:f>
              <c:numCache>
                <c:formatCode>mmm\-yy</c:formatCode>
                <c:ptCount val="3"/>
                <c:pt idx="0">
                  <c:v>43891</c:v>
                </c:pt>
                <c:pt idx="1">
                  <c:v>43922</c:v>
                </c:pt>
                <c:pt idx="2">
                  <c:v>43952</c:v>
                </c:pt>
              </c:numCache>
            </c:numRef>
          </c:cat>
          <c:val>
            <c:numRef>
              <c:f>Sheet1!$C$2:$C$30</c:f>
              <c:numCache>
                <c:formatCode>#,##0.00_);\(#,##0.00\)</c:formatCode>
                <c:ptCount val="29"/>
                <c:pt idx="0">
                  <c:v>82.518175870131216</c:v>
                </c:pt>
                <c:pt idx="1">
                  <c:v>55.59041548364474</c:v>
                </c:pt>
                <c:pt idx="2">
                  <c:v>60.145605339671349</c:v>
                </c:pt>
                <c:pt idx="3">
                  <c:v>68.600547811359007</c:v>
                </c:pt>
                <c:pt idx="4">
                  <c:v>75.265646605517333</c:v>
                </c:pt>
                <c:pt idx="5">
                  <c:v>76.749041402415401</c:v>
                </c:pt>
                <c:pt idx="6">
                  <c:v>74.448429646673972</c:v>
                </c:pt>
                <c:pt idx="7">
                  <c:v>72.592902400466045</c:v>
                </c:pt>
                <c:pt idx="8">
                  <c:v>71.811143646427126</c:v>
                </c:pt>
                <c:pt idx="9">
                  <c:v>71.719396312051458</c:v>
                </c:pt>
                <c:pt idx="10">
                  <c:v>70.584080139309464</c:v>
                </c:pt>
                <c:pt idx="11">
                  <c:v>73.917357217197278</c:v>
                </c:pt>
                <c:pt idx="12">
                  <c:v>77.423691973317773</c:v>
                </c:pt>
                <c:pt idx="13">
                  <c:v>80.72754744707305</c:v>
                </c:pt>
                <c:pt idx="14">
                  <c:v>85.143890146978379</c:v>
                </c:pt>
                <c:pt idx="15">
                  <c:v>91.083603219400345</c:v>
                </c:pt>
                <c:pt idx="16">
                  <c:v>100.12112297320674</c:v>
                </c:pt>
                <c:pt idx="17">
                  <c:v>97.31413236087154</c:v>
                </c:pt>
                <c:pt idx="18">
                  <c:v>94.530410638556077</c:v>
                </c:pt>
                <c:pt idx="19">
                  <c:v>94.326741074681735</c:v>
                </c:pt>
                <c:pt idx="20">
                  <c:v>94.870880899877378</c:v>
                </c:pt>
                <c:pt idx="21">
                  <c:v>98.534107573825565</c:v>
                </c:pt>
                <c:pt idx="22">
                  <c:v>89.343418966910292</c:v>
                </c:pt>
                <c:pt idx="23">
                  <c:v>95.491806922033135</c:v>
                </c:pt>
                <c:pt idx="24">
                  <c:v>98.064071556555049</c:v>
                </c:pt>
                <c:pt idx="25" formatCode="#,##0_);\(#,##0\)">
                  <c:v>100.75584422322021</c:v>
                </c:pt>
                <c:pt idx="26" formatCode="#,##0_);\(#,##0\)">
                  <c:v>99.414518470946305</c:v>
                </c:pt>
                <c:pt idx="27" formatCode="#,##0_);\(#,##0\)">
                  <c:v>99.754768061622173</c:v>
                </c:pt>
                <c:pt idx="28">
                  <c:v>101.77631655665667</c:v>
                </c:pt>
              </c:numCache>
            </c:numRef>
          </c:val>
          <c:smooth val="1"/>
          <c:extLst>
            <c:ext xmlns:c16="http://schemas.microsoft.com/office/drawing/2014/chart" uri="{C3380CC4-5D6E-409C-BE32-E72D297353CC}">
              <c16:uniqueId val="{00000001-1007-4B9E-A0DC-9B743F4B5222}"/>
            </c:ext>
          </c:extLst>
        </c:ser>
        <c:dLbls>
          <c:showLegendKey val="0"/>
          <c:showVal val="0"/>
          <c:showCatName val="0"/>
          <c:showSerName val="0"/>
          <c:showPercent val="0"/>
          <c:showBubbleSize val="0"/>
        </c:dLbls>
        <c:marker val="1"/>
        <c:smooth val="0"/>
        <c:axId val="382568736"/>
        <c:axId val="382569520"/>
      </c:lineChart>
      <c:catAx>
        <c:axId val="382568736"/>
        <c:scaling>
          <c:orientation val="minMax"/>
        </c:scaling>
        <c:delete val="0"/>
        <c:axPos val="b"/>
        <c:numFmt formatCode="[$-409]mmm\-yy;@" sourceLinked="0"/>
        <c:majorTickMark val="none"/>
        <c:minorTickMark val="none"/>
        <c:tickLblPos val="low"/>
        <c:spPr>
          <a:ln w="3368">
            <a:solidFill>
              <a:schemeClr val="tx1"/>
            </a:solidFill>
            <a:prstDash val="solid"/>
          </a:ln>
        </c:spPr>
        <c:txPr>
          <a:bodyPr rot="-5400000" vert="horz"/>
          <a:lstStyle/>
          <a:p>
            <a:pPr>
              <a:defRPr sz="1400" b="1" i="0" u="none" strike="noStrike" baseline="0">
                <a:solidFill>
                  <a:schemeClr val="tx1"/>
                </a:solidFill>
                <a:latin typeface="+mn-lt"/>
                <a:ea typeface="Arial"/>
                <a:cs typeface="Arial"/>
              </a:defRPr>
            </a:pPr>
            <a:endParaRPr lang="en-US"/>
          </a:p>
        </c:txPr>
        <c:crossAx val="382569520"/>
        <c:crossesAt val="40"/>
        <c:auto val="0"/>
        <c:lblAlgn val="ctr"/>
        <c:lblOffset val="100"/>
        <c:noMultiLvlLbl val="0"/>
      </c:catAx>
      <c:valAx>
        <c:axId val="382569520"/>
        <c:scaling>
          <c:orientation val="minMax"/>
          <c:min val="40"/>
        </c:scaling>
        <c:delete val="0"/>
        <c:axPos val="l"/>
        <c:majorGridlines/>
        <c:title>
          <c:tx>
            <c:rich>
              <a:bodyPr/>
              <a:lstStyle/>
              <a:p>
                <a:pPr>
                  <a:defRPr sz="1400">
                    <a:latin typeface="+mn-lt"/>
                  </a:defRPr>
                </a:pPr>
                <a:r>
                  <a:rPr lang="en-US" sz="1400" dirty="0">
                    <a:latin typeface="+mn-lt"/>
                  </a:rPr>
                  <a:t>Index</a:t>
                </a:r>
              </a:p>
            </c:rich>
          </c:tx>
          <c:overlay val="0"/>
        </c:title>
        <c:numFmt formatCode="#,##0" sourceLinked="0"/>
        <c:majorTickMark val="out"/>
        <c:minorTickMark val="none"/>
        <c:tickLblPos val="nextTo"/>
        <c:spPr>
          <a:ln w="3368">
            <a:solidFill>
              <a:schemeClr val="tx1"/>
            </a:solidFill>
            <a:prstDash val="solid"/>
          </a:ln>
        </c:spPr>
        <c:txPr>
          <a:bodyPr rot="0" vert="horz"/>
          <a:lstStyle/>
          <a:p>
            <a:pPr>
              <a:defRPr sz="1400" b="1" i="0" u="none" strike="noStrike" baseline="0">
                <a:solidFill>
                  <a:srgbClr val="3F3F3F"/>
                </a:solidFill>
                <a:latin typeface="+mn-lt"/>
                <a:ea typeface="Arial"/>
                <a:cs typeface="Arial"/>
              </a:defRPr>
            </a:pPr>
            <a:endParaRPr lang="en-US"/>
          </a:p>
        </c:txPr>
        <c:crossAx val="382568736"/>
        <c:crosses val="autoZero"/>
        <c:crossBetween val="between"/>
      </c:valAx>
      <c:spPr>
        <a:noFill/>
        <a:ln w="25400">
          <a:noFill/>
        </a:ln>
      </c:spPr>
    </c:plotArea>
    <c:legend>
      <c:legendPos val="b"/>
      <c:overlay val="0"/>
      <c:txPr>
        <a:bodyPr/>
        <a:lstStyle/>
        <a:p>
          <a:pPr>
            <a:defRPr sz="1400" b="1">
              <a:latin typeface="+mj-lt"/>
            </a:defRPr>
          </a:pPr>
          <a:endParaRPr lang="en-US"/>
        </a:p>
      </c:txPr>
    </c:legend>
    <c:plotVisOnly val="1"/>
    <c:dispBlanksAs val="gap"/>
    <c:showDLblsOverMax val="0"/>
  </c:chart>
  <c:spPr>
    <a:noFill/>
    <a:ln>
      <a:noFill/>
    </a:ln>
  </c:spPr>
  <c:txPr>
    <a:bodyPr/>
    <a:lstStyle/>
    <a:p>
      <a:pPr>
        <a:defRPr sz="1909" b="1" i="0" u="none" strike="noStrike" baseline="0">
          <a:solidFill>
            <a:schemeClr val="tx1"/>
          </a:solidFill>
          <a:latin typeface="Times New Roman"/>
          <a:ea typeface="Times New Roman"/>
          <a:cs typeface="Times New Roman"/>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86095668990401E-2"/>
          <c:y val="9.2715507367023928E-2"/>
          <c:w val="0.93491390433100963"/>
          <c:h val="0.69639166130437169"/>
        </c:manualLayout>
      </c:layout>
      <c:barChart>
        <c:barDir val="col"/>
        <c:grouping val="clustered"/>
        <c:varyColors val="0"/>
        <c:ser>
          <c:idx val="0"/>
          <c:order val="0"/>
          <c:tx>
            <c:strRef>
              <c:f>Sheet1!$C$1</c:f>
              <c:strCache>
                <c:ptCount val="1"/>
                <c:pt idx="0">
                  <c:v>Nominal</c:v>
                </c:pt>
              </c:strCache>
            </c:strRef>
          </c:tx>
          <c:spPr>
            <a:solidFill>
              <a:schemeClr val="accent2"/>
            </a:solidFill>
            <a:ln w="9525">
              <a:solidFill>
                <a:schemeClr val="accent2"/>
              </a:solidFill>
            </a:ln>
          </c:spPr>
          <c:invertIfNegative val="0"/>
          <c:dPt>
            <c:idx val="4"/>
            <c:invertIfNegative val="0"/>
            <c:bubble3D val="0"/>
            <c:spPr>
              <a:solidFill>
                <a:schemeClr val="accent2">
                  <a:lumMod val="60000"/>
                  <a:lumOff val="40000"/>
                </a:schemeClr>
              </a:solidFill>
              <a:ln w="9525">
                <a:solidFill>
                  <a:schemeClr val="accent2">
                    <a:lumMod val="60000"/>
                    <a:lumOff val="40000"/>
                  </a:schemeClr>
                </a:solidFill>
              </a:ln>
            </c:spPr>
            <c:extLst>
              <c:ext xmlns:c16="http://schemas.microsoft.com/office/drawing/2014/chart" uri="{C3380CC4-5D6E-409C-BE32-E72D297353CC}">
                <c16:uniqueId val="{00000000-FACD-432C-AC44-792BFA7A9AF6}"/>
              </c:ext>
            </c:extLst>
          </c:dPt>
          <c:dPt>
            <c:idx val="5"/>
            <c:invertIfNegative val="0"/>
            <c:bubble3D val="0"/>
            <c:spPr>
              <a:solidFill>
                <a:schemeClr val="accent2">
                  <a:lumMod val="60000"/>
                  <a:lumOff val="40000"/>
                </a:schemeClr>
              </a:solidFill>
              <a:ln w="9525">
                <a:solidFill>
                  <a:schemeClr val="accent2">
                    <a:lumMod val="60000"/>
                    <a:lumOff val="40000"/>
                  </a:schemeClr>
                </a:solidFill>
              </a:ln>
            </c:spPr>
            <c:extLst>
              <c:ext xmlns:c16="http://schemas.microsoft.com/office/drawing/2014/chart" uri="{C3380CC4-5D6E-409C-BE32-E72D297353CC}">
                <c16:uniqueId val="{00000005-FACD-432C-AC44-792BFA7A9AF6}"/>
              </c:ext>
            </c:extLst>
          </c:dPt>
          <c:dPt>
            <c:idx val="6"/>
            <c:invertIfNegative val="0"/>
            <c:bubble3D val="0"/>
            <c:spPr>
              <a:solidFill>
                <a:schemeClr val="accent2">
                  <a:lumMod val="60000"/>
                  <a:lumOff val="40000"/>
                </a:schemeClr>
              </a:solidFill>
              <a:ln w="9525">
                <a:solidFill>
                  <a:schemeClr val="accent2">
                    <a:lumMod val="60000"/>
                    <a:lumOff val="40000"/>
                  </a:schemeClr>
                </a:solidFill>
              </a:ln>
            </c:spPr>
            <c:extLst>
              <c:ext xmlns:c16="http://schemas.microsoft.com/office/drawing/2014/chart" uri="{C3380CC4-5D6E-409C-BE32-E72D297353CC}">
                <c16:uniqueId val="{00000006-FACD-432C-AC44-792BFA7A9AF6}"/>
              </c:ext>
            </c:extLst>
          </c:dPt>
          <c:dPt>
            <c:idx val="7"/>
            <c:invertIfNegative val="0"/>
            <c:bubble3D val="0"/>
            <c:spPr>
              <a:solidFill>
                <a:schemeClr val="accent2">
                  <a:lumMod val="60000"/>
                  <a:lumOff val="40000"/>
                </a:schemeClr>
              </a:solidFill>
              <a:ln w="9525">
                <a:solidFill>
                  <a:schemeClr val="accent2">
                    <a:lumMod val="60000"/>
                    <a:lumOff val="40000"/>
                  </a:schemeClr>
                </a:solidFill>
              </a:ln>
            </c:spPr>
            <c:extLst>
              <c:ext xmlns:c16="http://schemas.microsoft.com/office/drawing/2014/chart" uri="{C3380CC4-5D6E-409C-BE32-E72D297353CC}">
                <c16:uniqueId val="{00000007-FACD-432C-AC44-792BFA7A9AF6}"/>
              </c:ext>
            </c:extLst>
          </c:dPt>
          <c:dPt>
            <c:idx val="8"/>
            <c:invertIfNegative val="0"/>
            <c:bubble3D val="0"/>
            <c:spPr>
              <a:solidFill>
                <a:schemeClr val="accent2">
                  <a:lumMod val="50000"/>
                </a:schemeClr>
              </a:solidFill>
              <a:ln w="9525">
                <a:solidFill>
                  <a:schemeClr val="accent2">
                    <a:lumMod val="50000"/>
                  </a:schemeClr>
                </a:solidFill>
              </a:ln>
            </c:spPr>
            <c:extLst>
              <c:ext xmlns:c16="http://schemas.microsoft.com/office/drawing/2014/chart" uri="{C3380CC4-5D6E-409C-BE32-E72D297353CC}">
                <c16:uniqueId val="{00000001-FACD-432C-AC44-792BFA7A9AF6}"/>
              </c:ext>
            </c:extLst>
          </c:dPt>
          <c:dPt>
            <c:idx val="9"/>
            <c:invertIfNegative val="0"/>
            <c:bubble3D val="0"/>
            <c:spPr>
              <a:solidFill>
                <a:schemeClr val="accent2">
                  <a:lumMod val="50000"/>
                </a:schemeClr>
              </a:solidFill>
              <a:ln w="9525">
                <a:solidFill>
                  <a:schemeClr val="accent2">
                    <a:lumMod val="50000"/>
                  </a:schemeClr>
                </a:solidFill>
              </a:ln>
            </c:spPr>
            <c:extLst>
              <c:ext xmlns:c16="http://schemas.microsoft.com/office/drawing/2014/chart" uri="{C3380CC4-5D6E-409C-BE32-E72D297353CC}">
                <c16:uniqueId val="{00000002-FACD-432C-AC44-792BFA7A9AF6}"/>
              </c:ext>
            </c:extLst>
          </c:dPt>
          <c:dPt>
            <c:idx val="10"/>
            <c:invertIfNegative val="0"/>
            <c:bubble3D val="0"/>
            <c:spPr>
              <a:solidFill>
                <a:schemeClr val="accent2">
                  <a:lumMod val="50000"/>
                </a:schemeClr>
              </a:solidFill>
              <a:ln w="9525">
                <a:solidFill>
                  <a:schemeClr val="accent2">
                    <a:lumMod val="50000"/>
                  </a:schemeClr>
                </a:solidFill>
              </a:ln>
            </c:spPr>
            <c:extLst>
              <c:ext xmlns:c16="http://schemas.microsoft.com/office/drawing/2014/chart" uri="{C3380CC4-5D6E-409C-BE32-E72D297353CC}">
                <c16:uniqueId val="{00000003-FACD-432C-AC44-792BFA7A9AF6}"/>
              </c:ext>
            </c:extLst>
          </c:dPt>
          <c:dPt>
            <c:idx val="11"/>
            <c:invertIfNegative val="0"/>
            <c:bubble3D val="0"/>
            <c:spPr>
              <a:solidFill>
                <a:schemeClr val="accent2">
                  <a:lumMod val="50000"/>
                </a:schemeClr>
              </a:solidFill>
              <a:ln w="9525">
                <a:solidFill>
                  <a:schemeClr val="accent2">
                    <a:lumMod val="50000"/>
                  </a:schemeClr>
                </a:solidFill>
              </a:ln>
            </c:spPr>
            <c:extLst>
              <c:ext xmlns:c16="http://schemas.microsoft.com/office/drawing/2014/chart" uri="{C3380CC4-5D6E-409C-BE32-E72D297353CC}">
                <c16:uniqueId val="{00000004-FACD-432C-AC44-792BFA7A9AF6}"/>
              </c:ext>
            </c:extLst>
          </c:dPt>
          <c:cat>
            <c:multiLvlStrRef>
              <c:f>Sheet1!$A$2:$B$13</c:f>
              <c:multiLvlStrCache>
                <c:ptCount val="12"/>
                <c:lvl>
                  <c:pt idx="0">
                    <c:v>3Q21</c:v>
                  </c:pt>
                  <c:pt idx="1">
                    <c:v>4Q21</c:v>
                  </c:pt>
                  <c:pt idx="2">
                    <c:v>1Q22</c:v>
                  </c:pt>
                  <c:pt idx="3">
                    <c:v>2Q22</c:v>
                  </c:pt>
                  <c:pt idx="4">
                    <c:v>3Q21</c:v>
                  </c:pt>
                  <c:pt idx="5">
                    <c:v>4Q21</c:v>
                  </c:pt>
                  <c:pt idx="6">
                    <c:v>1Q22</c:v>
                  </c:pt>
                  <c:pt idx="7">
                    <c:v>2Q22</c:v>
                  </c:pt>
                  <c:pt idx="8">
                    <c:v>3Q21</c:v>
                  </c:pt>
                  <c:pt idx="9">
                    <c:v>4Q21</c:v>
                  </c:pt>
                  <c:pt idx="10">
                    <c:v>1Q22</c:v>
                  </c:pt>
                  <c:pt idx="11">
                    <c:v>2Q22</c:v>
                  </c:pt>
                </c:lvl>
                <c:lvl>
                  <c:pt idx="0">
                    <c:v>Shoulder</c:v>
                  </c:pt>
                  <c:pt idx="4">
                    <c:v>Weekdays</c:v>
                  </c:pt>
                  <c:pt idx="8">
                    <c:v>Weekends</c:v>
                  </c:pt>
                </c:lvl>
              </c:multiLvlStrCache>
            </c:multiLvlStrRef>
          </c:cat>
          <c:val>
            <c:numRef>
              <c:f>Sheet1!$C$2:$C$13</c:f>
              <c:numCache>
                <c:formatCode>0.00</c:formatCode>
                <c:ptCount val="12"/>
                <c:pt idx="0">
                  <c:v>103.75197472353869</c:v>
                </c:pt>
                <c:pt idx="1">
                  <c:v>102.93950004071331</c:v>
                </c:pt>
                <c:pt idx="2">
                  <c:v>106.39967961553864</c:v>
                </c:pt>
                <c:pt idx="3">
                  <c:v>114.31742508324083</c:v>
                </c:pt>
                <c:pt idx="4">
                  <c:v>96.036470499585562</c:v>
                </c:pt>
                <c:pt idx="5">
                  <c:v>94.859813084112147</c:v>
                </c:pt>
                <c:pt idx="6">
                  <c:v>98.538432411965161</c:v>
                </c:pt>
                <c:pt idx="7">
                  <c:v>107.22569134701159</c:v>
                </c:pt>
                <c:pt idx="8">
                  <c:v>113.03326235406416</c:v>
                </c:pt>
                <c:pt idx="9">
                  <c:v>112.72027702962679</c:v>
                </c:pt>
                <c:pt idx="10">
                  <c:v>116.96076886718134</c:v>
                </c:pt>
                <c:pt idx="11">
                  <c:v>123.34304714936859</c:v>
                </c:pt>
              </c:numCache>
            </c:numRef>
          </c:val>
          <c:extLst>
            <c:ext xmlns:c16="http://schemas.microsoft.com/office/drawing/2014/chart" uri="{C3380CC4-5D6E-409C-BE32-E72D297353CC}">
              <c16:uniqueId val="{00000000-1007-4B9E-A0DC-9B743F4B5222}"/>
            </c:ext>
          </c:extLst>
        </c:ser>
        <c:dLbls>
          <c:showLegendKey val="0"/>
          <c:showVal val="0"/>
          <c:showCatName val="0"/>
          <c:showSerName val="0"/>
          <c:showPercent val="0"/>
          <c:showBubbleSize val="0"/>
        </c:dLbls>
        <c:gapWidth val="60"/>
        <c:axId val="382568736"/>
        <c:axId val="382569520"/>
      </c:barChart>
      <c:lineChart>
        <c:grouping val="standard"/>
        <c:varyColors val="0"/>
        <c:ser>
          <c:idx val="1"/>
          <c:order val="1"/>
          <c:tx>
            <c:strRef>
              <c:f>Sheet1!$D$1</c:f>
              <c:strCache>
                <c:ptCount val="1"/>
                <c:pt idx="0">
                  <c:v>Real</c:v>
                </c:pt>
              </c:strCache>
            </c:strRef>
          </c:tx>
          <c:spPr>
            <a:ln>
              <a:noFill/>
            </a:ln>
          </c:spPr>
          <c:marker>
            <c:symbol val="diamond"/>
            <c:size val="21"/>
            <c:spPr>
              <a:solidFill>
                <a:srgbClr val="FFC000"/>
              </a:solidFill>
              <a:ln>
                <a:noFill/>
              </a:ln>
            </c:spPr>
          </c:marker>
          <c:cat>
            <c:multiLvlStrRef>
              <c:f>Sheet1!$A$2:$B$13</c:f>
              <c:multiLvlStrCache>
                <c:ptCount val="12"/>
                <c:lvl>
                  <c:pt idx="0">
                    <c:v>3Q21</c:v>
                  </c:pt>
                  <c:pt idx="1">
                    <c:v>4Q21</c:v>
                  </c:pt>
                  <c:pt idx="2">
                    <c:v>1Q22</c:v>
                  </c:pt>
                  <c:pt idx="3">
                    <c:v>2Q22</c:v>
                  </c:pt>
                  <c:pt idx="4">
                    <c:v>3Q21</c:v>
                  </c:pt>
                  <c:pt idx="5">
                    <c:v>4Q21</c:v>
                  </c:pt>
                  <c:pt idx="6">
                    <c:v>1Q22</c:v>
                  </c:pt>
                  <c:pt idx="7">
                    <c:v>2Q22</c:v>
                  </c:pt>
                  <c:pt idx="8">
                    <c:v>3Q21</c:v>
                  </c:pt>
                  <c:pt idx="9">
                    <c:v>4Q21</c:v>
                  </c:pt>
                  <c:pt idx="10">
                    <c:v>1Q22</c:v>
                  </c:pt>
                  <c:pt idx="11">
                    <c:v>2Q22</c:v>
                  </c:pt>
                </c:lvl>
                <c:lvl>
                  <c:pt idx="0">
                    <c:v>Shoulder</c:v>
                  </c:pt>
                  <c:pt idx="4">
                    <c:v>Weekdays</c:v>
                  </c:pt>
                  <c:pt idx="8">
                    <c:v>Weekends</c:v>
                  </c:pt>
                </c:lvl>
              </c:multiLvlStrCache>
            </c:multiLvlStrRef>
          </c:cat>
          <c:val>
            <c:numRef>
              <c:f>Sheet1!$D$2:$D$13</c:f>
              <c:numCache>
                <c:formatCode>0.00</c:formatCode>
                <c:ptCount val="12"/>
                <c:pt idx="0">
                  <c:v>97.31353300294127</c:v>
                </c:pt>
                <c:pt idx="1">
                  <c:v>95.355029207523557</c:v>
                </c:pt>
                <c:pt idx="2">
                  <c:v>94.726730482289227</c:v>
                </c:pt>
                <c:pt idx="3">
                  <c:v>100.13803328476389</c:v>
                </c:pt>
                <c:pt idx="4">
                  <c:v>90.076822791567793</c:v>
                </c:pt>
                <c:pt idx="5">
                  <c:v>87.87064483194726</c:v>
                </c:pt>
                <c:pt idx="6">
                  <c:v>87.727928908841591</c:v>
                </c:pt>
                <c:pt idx="7">
                  <c:v>93.925924602223972</c:v>
                </c:pt>
                <c:pt idx="8">
                  <c:v>106.01886022731091</c:v>
                </c:pt>
                <c:pt idx="9">
                  <c:v>104.41516914487754</c:v>
                </c:pt>
                <c:pt idx="10">
                  <c:v>104.1291784854659</c:v>
                </c:pt>
                <c:pt idx="11">
                  <c:v>108.04415995106595</c:v>
                </c:pt>
              </c:numCache>
            </c:numRef>
          </c:val>
          <c:smooth val="0"/>
          <c:extLst>
            <c:ext xmlns:c16="http://schemas.microsoft.com/office/drawing/2014/chart" uri="{C3380CC4-5D6E-409C-BE32-E72D297353CC}">
              <c16:uniqueId val="{00000001-0064-4327-8C3B-65DC9D7E3F52}"/>
            </c:ext>
          </c:extLst>
        </c:ser>
        <c:dLbls>
          <c:showLegendKey val="0"/>
          <c:showVal val="0"/>
          <c:showCatName val="0"/>
          <c:showSerName val="0"/>
          <c:showPercent val="0"/>
          <c:showBubbleSize val="0"/>
        </c:dLbls>
        <c:marker val="1"/>
        <c:smooth val="0"/>
        <c:axId val="382568736"/>
        <c:axId val="382569520"/>
      </c:lineChart>
      <c:catAx>
        <c:axId val="382568736"/>
        <c:scaling>
          <c:orientation val="minMax"/>
        </c:scaling>
        <c:delete val="0"/>
        <c:axPos val="b"/>
        <c:numFmt formatCode="[$-409]d\-mmm;@" sourceLinked="0"/>
        <c:majorTickMark val="none"/>
        <c:minorTickMark val="none"/>
        <c:tickLblPos val="low"/>
        <c:spPr>
          <a:ln w="3368">
            <a:solidFill>
              <a:schemeClr val="tx1"/>
            </a:solidFill>
            <a:prstDash val="solid"/>
          </a:ln>
        </c:spPr>
        <c:txPr>
          <a:bodyPr rot="0" vert="horz"/>
          <a:lstStyle/>
          <a:p>
            <a:pPr>
              <a:defRPr sz="1400" b="1" i="0" u="none" strike="noStrike" baseline="0">
                <a:solidFill>
                  <a:schemeClr val="tx1"/>
                </a:solidFill>
                <a:latin typeface="+mn-lt"/>
                <a:ea typeface="Arial"/>
                <a:cs typeface="Arial"/>
              </a:defRPr>
            </a:pPr>
            <a:endParaRPr lang="en-US"/>
          </a:p>
        </c:txPr>
        <c:crossAx val="382569520"/>
        <c:crosses val="autoZero"/>
        <c:auto val="0"/>
        <c:lblAlgn val="ctr"/>
        <c:lblOffset val="100"/>
        <c:noMultiLvlLbl val="0"/>
      </c:catAx>
      <c:valAx>
        <c:axId val="382569520"/>
        <c:scaling>
          <c:orientation val="minMax"/>
          <c:min val="60"/>
        </c:scaling>
        <c:delete val="0"/>
        <c:axPos val="l"/>
        <c:majorGridlines/>
        <c:title>
          <c:tx>
            <c:rich>
              <a:bodyPr/>
              <a:lstStyle/>
              <a:p>
                <a:pPr>
                  <a:defRPr sz="1400">
                    <a:latin typeface="+mn-lt"/>
                  </a:defRPr>
                </a:pPr>
                <a:r>
                  <a:rPr lang="en-US" sz="1400" dirty="0">
                    <a:latin typeface="+mn-lt"/>
                  </a:rPr>
                  <a:t>Index</a:t>
                </a:r>
              </a:p>
            </c:rich>
          </c:tx>
          <c:overlay val="0"/>
        </c:title>
        <c:numFmt formatCode="#,##0" sourceLinked="0"/>
        <c:majorTickMark val="out"/>
        <c:minorTickMark val="none"/>
        <c:tickLblPos val="nextTo"/>
        <c:spPr>
          <a:ln>
            <a:solidFill>
              <a:srgbClr val="000000"/>
            </a:solidFill>
          </a:ln>
        </c:spPr>
        <c:txPr>
          <a:bodyPr/>
          <a:lstStyle/>
          <a:p>
            <a:pPr>
              <a:defRPr sz="1400">
                <a:latin typeface="+mn-lt"/>
              </a:defRPr>
            </a:pPr>
            <a:endParaRPr lang="en-US"/>
          </a:p>
        </c:txPr>
        <c:crossAx val="382568736"/>
        <c:crosses val="autoZero"/>
        <c:crossBetween val="between"/>
      </c:valAx>
      <c:spPr>
        <a:noFill/>
        <a:ln w="25400">
          <a:noFill/>
        </a:ln>
      </c:spPr>
    </c:plotArea>
    <c:legend>
      <c:legendPos val="t"/>
      <c:overlay val="0"/>
      <c:txPr>
        <a:bodyPr/>
        <a:lstStyle/>
        <a:p>
          <a:pPr>
            <a:defRPr sz="1600">
              <a:latin typeface="+mn-lt"/>
            </a:defRPr>
          </a:pPr>
          <a:endParaRPr lang="en-US"/>
        </a:p>
      </c:txPr>
    </c:legend>
    <c:plotVisOnly val="1"/>
    <c:dispBlanksAs val="gap"/>
    <c:showDLblsOverMax val="0"/>
  </c:chart>
  <c:spPr>
    <a:noFill/>
    <a:ln>
      <a:noFill/>
    </a:ln>
  </c:spPr>
  <c:txPr>
    <a:bodyPr/>
    <a:lstStyle/>
    <a:p>
      <a:pPr>
        <a:defRPr sz="1909" b="1" i="0" u="none" strike="noStrike" baseline="0">
          <a:solidFill>
            <a:schemeClr val="tx1"/>
          </a:solidFill>
          <a:latin typeface="Times New Roman"/>
          <a:ea typeface="Times New Roman"/>
          <a:cs typeface="Times New Roman"/>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591390747751642E-2"/>
          <c:y val="0.10335050326382125"/>
          <c:w val="0.91626283137695652"/>
          <c:h val="0.71415301113620755"/>
        </c:manualLayout>
      </c:layout>
      <c:barChart>
        <c:barDir val="col"/>
        <c:grouping val="clustered"/>
        <c:varyColors val="0"/>
        <c:ser>
          <c:idx val="0"/>
          <c:order val="0"/>
          <c:tx>
            <c:strRef>
              <c:f>Sheet1!$B$1</c:f>
              <c:strCache>
                <c:ptCount val="1"/>
                <c:pt idx="0">
                  <c:v>RevPAR</c:v>
                </c:pt>
              </c:strCache>
            </c:strRef>
          </c:tx>
          <c:spPr>
            <a:solidFill>
              <a:schemeClr val="bg1">
                <a:lumMod val="50000"/>
              </a:schemeClr>
            </a:solidFill>
            <a:ln w="9525">
              <a:solidFill>
                <a:schemeClr val="bg1">
                  <a:lumMod val="50000"/>
                </a:schemeClr>
              </a:solidFill>
            </a:ln>
          </c:spPr>
          <c:invertIfNegative val="0"/>
          <c:dPt>
            <c:idx val="24"/>
            <c:invertIfNegative val="0"/>
            <c:bubble3D val="0"/>
            <c:spPr>
              <a:solidFill>
                <a:schemeClr val="accent3"/>
              </a:solidFill>
              <a:ln w="9525">
                <a:solidFill>
                  <a:schemeClr val="accent3"/>
                </a:solidFill>
              </a:ln>
            </c:spPr>
            <c:extLst>
              <c:ext xmlns:c16="http://schemas.microsoft.com/office/drawing/2014/chart" uri="{C3380CC4-5D6E-409C-BE32-E72D297353CC}">
                <c16:uniqueId val="{00000000-EC9A-4DD7-B0E4-B89138646A3D}"/>
              </c:ext>
            </c:extLst>
          </c:dPt>
          <c:dPt>
            <c:idx val="25"/>
            <c:invertIfNegative val="0"/>
            <c:bubble3D val="0"/>
            <c:spPr>
              <a:solidFill>
                <a:schemeClr val="accent3"/>
              </a:solidFill>
              <a:ln w="9525">
                <a:solidFill>
                  <a:schemeClr val="accent3"/>
                </a:solidFill>
              </a:ln>
            </c:spPr>
            <c:extLst>
              <c:ext xmlns:c16="http://schemas.microsoft.com/office/drawing/2014/chart" uri="{C3380CC4-5D6E-409C-BE32-E72D297353CC}">
                <c16:uniqueId val="{00000001-EC9A-4DD7-B0E4-B89138646A3D}"/>
              </c:ext>
            </c:extLst>
          </c:dPt>
          <c:dPt>
            <c:idx val="26"/>
            <c:invertIfNegative val="0"/>
            <c:bubble3D val="0"/>
            <c:spPr>
              <a:solidFill>
                <a:schemeClr val="accent3"/>
              </a:solidFill>
              <a:ln w="9525">
                <a:solidFill>
                  <a:schemeClr val="accent3"/>
                </a:solidFill>
              </a:ln>
            </c:spPr>
            <c:extLst>
              <c:ext xmlns:c16="http://schemas.microsoft.com/office/drawing/2014/chart" uri="{C3380CC4-5D6E-409C-BE32-E72D297353CC}">
                <c16:uniqueId val="{00000005-847C-4BE9-A774-CE5594654D46}"/>
              </c:ext>
            </c:extLst>
          </c:dPt>
          <c:dPt>
            <c:idx val="27"/>
            <c:invertIfNegative val="0"/>
            <c:bubble3D val="0"/>
            <c:spPr>
              <a:solidFill>
                <a:schemeClr val="accent3"/>
              </a:solidFill>
              <a:ln w="9525">
                <a:solidFill>
                  <a:schemeClr val="accent3"/>
                </a:solidFill>
              </a:ln>
            </c:spPr>
            <c:extLst>
              <c:ext xmlns:c16="http://schemas.microsoft.com/office/drawing/2014/chart" uri="{C3380CC4-5D6E-409C-BE32-E72D297353CC}">
                <c16:uniqueId val="{00000007-A906-4D72-84D4-23F7F78AA16E}"/>
              </c:ext>
            </c:extLst>
          </c:dPt>
          <c:dPt>
            <c:idx val="28"/>
            <c:invertIfNegative val="0"/>
            <c:bubble3D val="0"/>
            <c:spPr>
              <a:solidFill>
                <a:schemeClr val="accent3"/>
              </a:solidFill>
              <a:ln w="9525">
                <a:solidFill>
                  <a:schemeClr val="accent3"/>
                </a:solidFill>
              </a:ln>
            </c:spPr>
            <c:extLst>
              <c:ext xmlns:c16="http://schemas.microsoft.com/office/drawing/2014/chart" uri="{C3380CC4-5D6E-409C-BE32-E72D297353CC}">
                <c16:uniqueId val="{00000009-A3F2-40A9-96FA-CAADE6674D1E}"/>
              </c:ext>
            </c:extLst>
          </c:dPt>
          <c:cat>
            <c:numRef>
              <c:f>Sheet1!$A$2:$A$30</c:f>
              <c:numCache>
                <c:formatCode>mmm\-yy</c:formatCode>
                <c:ptCount val="29"/>
                <c:pt idx="0">
                  <c:v>43891</c:v>
                </c:pt>
                <c:pt idx="1">
                  <c:v>43922</c:v>
                </c:pt>
                <c:pt idx="2">
                  <c:v>43952</c:v>
                </c:pt>
                <c:pt idx="3">
                  <c:v>43983</c:v>
                </c:pt>
                <c:pt idx="4">
                  <c:v>44013</c:v>
                </c:pt>
                <c:pt idx="5">
                  <c:v>44044</c:v>
                </c:pt>
                <c:pt idx="6">
                  <c:v>44075</c:v>
                </c:pt>
                <c:pt idx="7">
                  <c:v>44105</c:v>
                </c:pt>
                <c:pt idx="8">
                  <c:v>44136</c:v>
                </c:pt>
                <c:pt idx="9">
                  <c:v>44166</c:v>
                </c:pt>
                <c:pt idx="10">
                  <c:v>44197</c:v>
                </c:pt>
                <c:pt idx="11">
                  <c:v>44228</c:v>
                </c:pt>
                <c:pt idx="12">
                  <c:v>44256</c:v>
                </c:pt>
                <c:pt idx="13">
                  <c:v>44287</c:v>
                </c:pt>
                <c:pt idx="14">
                  <c:v>44317</c:v>
                </c:pt>
                <c:pt idx="15">
                  <c:v>44348</c:v>
                </c:pt>
                <c:pt idx="16">
                  <c:v>44378</c:v>
                </c:pt>
                <c:pt idx="17">
                  <c:v>44409</c:v>
                </c:pt>
                <c:pt idx="18">
                  <c:v>44440</c:v>
                </c:pt>
                <c:pt idx="19">
                  <c:v>44470</c:v>
                </c:pt>
                <c:pt idx="20">
                  <c:v>44501</c:v>
                </c:pt>
                <c:pt idx="21">
                  <c:v>44531</c:v>
                </c:pt>
                <c:pt idx="22">
                  <c:v>44562</c:v>
                </c:pt>
                <c:pt idx="23">
                  <c:v>44593</c:v>
                </c:pt>
                <c:pt idx="24">
                  <c:v>44621</c:v>
                </c:pt>
                <c:pt idx="25">
                  <c:v>44652</c:v>
                </c:pt>
                <c:pt idx="26">
                  <c:v>44682</c:v>
                </c:pt>
                <c:pt idx="27">
                  <c:v>44713</c:v>
                </c:pt>
                <c:pt idx="28">
                  <c:v>44743</c:v>
                </c:pt>
              </c:numCache>
            </c:numRef>
          </c:cat>
          <c:val>
            <c:numRef>
              <c:f>Sheet1!$B$2:$B$30</c:f>
              <c:numCache>
                <c:formatCode>0.0</c:formatCode>
                <c:ptCount val="29"/>
                <c:pt idx="0">
                  <c:v>47.681953688605041</c:v>
                </c:pt>
                <c:pt idx="1">
                  <c:v>20.036591084228508</c:v>
                </c:pt>
                <c:pt idx="2">
                  <c:v>29.077345551457263</c:v>
                </c:pt>
                <c:pt idx="3">
                  <c:v>39.770686427257949</c:v>
                </c:pt>
                <c:pt idx="4">
                  <c:v>48.678962762092937</c:v>
                </c:pt>
                <c:pt idx="5">
                  <c:v>53.118744691501696</c:v>
                </c:pt>
                <c:pt idx="6">
                  <c:v>54.288682713187541</c:v>
                </c:pt>
                <c:pt idx="7">
                  <c:v>51.609095072775624</c:v>
                </c:pt>
                <c:pt idx="8">
                  <c:v>47.672903671038398</c:v>
                </c:pt>
                <c:pt idx="9">
                  <c:v>48.896698747921761</c:v>
                </c:pt>
                <c:pt idx="10">
                  <c:v>52.344473642520285</c:v>
                </c:pt>
                <c:pt idx="11">
                  <c:v>56.026308223622621</c:v>
                </c:pt>
                <c:pt idx="12">
                  <c:v>64.175641813826346</c:v>
                </c:pt>
                <c:pt idx="13">
                  <c:v>71.341945178918181</c:v>
                </c:pt>
                <c:pt idx="14">
                  <c:v>77.19751676626808</c:v>
                </c:pt>
                <c:pt idx="15">
                  <c:v>86.981153559815809</c:v>
                </c:pt>
                <c:pt idx="16">
                  <c:v>100.55980764889779</c:v>
                </c:pt>
                <c:pt idx="17">
                  <c:v>91.989842278920008</c:v>
                </c:pt>
                <c:pt idx="18">
                  <c:v>92.524235702957299</c:v>
                </c:pt>
                <c:pt idx="19">
                  <c:v>92.410322200145728</c:v>
                </c:pt>
                <c:pt idx="20">
                  <c:v>96.105599971186564</c:v>
                </c:pt>
                <c:pt idx="21">
                  <c:v>105.29947372574806</c:v>
                </c:pt>
                <c:pt idx="22">
                  <c:v>87.163928599396428</c:v>
                </c:pt>
                <c:pt idx="23">
                  <c:v>98.360937659221889</c:v>
                </c:pt>
                <c:pt idx="24">
                  <c:v>103.99025017137123</c:v>
                </c:pt>
                <c:pt idx="25">
                  <c:v>110.20509049397538</c:v>
                </c:pt>
                <c:pt idx="26">
                  <c:v>107.72830335380696</c:v>
                </c:pt>
                <c:pt idx="27">
                  <c:v>110.34958993328242</c:v>
                </c:pt>
                <c:pt idx="28">
                  <c:v>111.20840427801983</c:v>
                </c:pt>
              </c:numCache>
            </c:numRef>
          </c:val>
          <c:extLst>
            <c:ext xmlns:c16="http://schemas.microsoft.com/office/drawing/2014/chart" uri="{C3380CC4-5D6E-409C-BE32-E72D297353CC}">
              <c16:uniqueId val="{00000000-1007-4B9E-A0DC-9B743F4B5222}"/>
            </c:ext>
          </c:extLst>
        </c:ser>
        <c:dLbls>
          <c:showLegendKey val="0"/>
          <c:showVal val="0"/>
          <c:showCatName val="0"/>
          <c:showSerName val="0"/>
          <c:showPercent val="0"/>
          <c:showBubbleSize val="0"/>
        </c:dLbls>
        <c:gapWidth val="60"/>
        <c:axId val="382568736"/>
        <c:axId val="382569520"/>
      </c:barChart>
      <c:lineChart>
        <c:grouping val="standard"/>
        <c:varyColors val="0"/>
        <c:ser>
          <c:idx val="1"/>
          <c:order val="1"/>
          <c:tx>
            <c:strRef>
              <c:f>Sheet1!$C$1</c:f>
              <c:strCache>
                <c:ptCount val="1"/>
                <c:pt idx="0">
                  <c:v>Real RevPAR</c:v>
                </c:pt>
              </c:strCache>
            </c:strRef>
          </c:tx>
          <c:spPr>
            <a:ln w="76200">
              <a:solidFill>
                <a:srgbClr val="FFC000"/>
              </a:solidFill>
            </a:ln>
          </c:spPr>
          <c:marker>
            <c:symbol val="none"/>
          </c:marker>
          <c:cat>
            <c:numRef>
              <c:f>Sheet1!$A$2:$A$4</c:f>
              <c:numCache>
                <c:formatCode>mmm\-yy</c:formatCode>
                <c:ptCount val="3"/>
                <c:pt idx="0">
                  <c:v>43891</c:v>
                </c:pt>
                <c:pt idx="1">
                  <c:v>43922</c:v>
                </c:pt>
                <c:pt idx="2">
                  <c:v>43952</c:v>
                </c:pt>
              </c:numCache>
            </c:numRef>
          </c:cat>
          <c:val>
            <c:numRef>
              <c:f>Sheet1!$C$2:$C$30</c:f>
              <c:numCache>
                <c:formatCode>#,##0.0_);\(#,##0.0\)</c:formatCode>
                <c:ptCount val="29"/>
                <c:pt idx="0">
                  <c:v>46.959099593401305</c:v>
                </c:pt>
                <c:pt idx="1">
                  <c:v>19.970867620656215</c:v>
                </c:pt>
                <c:pt idx="2">
                  <c:v>29.043096082450422</c:v>
                </c:pt>
                <c:pt idx="3">
                  <c:v>39.515521645081719</c:v>
                </c:pt>
                <c:pt idx="4">
                  <c:v>48.203635473552573</c:v>
                </c:pt>
                <c:pt idx="5">
                  <c:v>52.432070501320759</c:v>
                </c:pt>
                <c:pt idx="6">
                  <c:v>53.554279563375296</c:v>
                </c:pt>
                <c:pt idx="7">
                  <c:v>51.006168412517148</c:v>
                </c:pt>
                <c:pt idx="8">
                  <c:v>47.119468650382714</c:v>
                </c:pt>
                <c:pt idx="9">
                  <c:v>48.239671767809625</c:v>
                </c:pt>
                <c:pt idx="10">
                  <c:v>50.369414369131135</c:v>
                </c:pt>
                <c:pt idx="11">
                  <c:v>53.845445822406532</c:v>
                </c:pt>
                <c:pt idx="12">
                  <c:v>61.589252748854321</c:v>
                </c:pt>
                <c:pt idx="13">
                  <c:v>68.268183238529218</c:v>
                </c:pt>
                <c:pt idx="14">
                  <c:v>73.439946743836728</c:v>
                </c:pt>
                <c:pt idx="15">
                  <c:v>82.001993464283231</c:v>
                </c:pt>
                <c:pt idx="16">
                  <c:v>94.507131453813173</c:v>
                </c:pt>
                <c:pt idx="17">
                  <c:v>86.27038332618757</c:v>
                </c:pt>
                <c:pt idx="18">
                  <c:v>86.60431714066425</c:v>
                </c:pt>
                <c:pt idx="19">
                  <c:v>85.981101117248713</c:v>
                </c:pt>
                <c:pt idx="20">
                  <c:v>88.934365987123357</c:v>
                </c:pt>
                <c:pt idx="21">
                  <c:v>97.055354556998779</c:v>
                </c:pt>
                <c:pt idx="22">
                  <c:v>78.037925916639196</c:v>
                </c:pt>
                <c:pt idx="23">
                  <c:v>87.634410388372444</c:v>
                </c:pt>
                <c:pt idx="24">
                  <c:v>91.944910589288881</c:v>
                </c:pt>
                <c:pt idx="25">
                  <c:v>97.412015764138857</c:v>
                </c:pt>
                <c:pt idx="26">
                  <c:v>94.384995560948951</c:v>
                </c:pt>
                <c:pt idx="27">
                  <c:v>95.39056941619026</c:v>
                </c:pt>
                <c:pt idx="28">
                  <c:v>96.293595222640519</c:v>
                </c:pt>
              </c:numCache>
            </c:numRef>
          </c:val>
          <c:smooth val="1"/>
          <c:extLst>
            <c:ext xmlns:c16="http://schemas.microsoft.com/office/drawing/2014/chart" uri="{C3380CC4-5D6E-409C-BE32-E72D297353CC}">
              <c16:uniqueId val="{00000001-1007-4B9E-A0DC-9B743F4B5222}"/>
            </c:ext>
          </c:extLst>
        </c:ser>
        <c:dLbls>
          <c:showLegendKey val="0"/>
          <c:showVal val="0"/>
          <c:showCatName val="0"/>
          <c:showSerName val="0"/>
          <c:showPercent val="0"/>
          <c:showBubbleSize val="0"/>
        </c:dLbls>
        <c:marker val="1"/>
        <c:smooth val="0"/>
        <c:axId val="382568736"/>
        <c:axId val="382569520"/>
      </c:lineChart>
      <c:catAx>
        <c:axId val="382568736"/>
        <c:scaling>
          <c:orientation val="minMax"/>
        </c:scaling>
        <c:delete val="0"/>
        <c:axPos val="b"/>
        <c:numFmt formatCode="[$-409]mmm\-yy;@" sourceLinked="0"/>
        <c:majorTickMark val="none"/>
        <c:minorTickMark val="none"/>
        <c:tickLblPos val="low"/>
        <c:spPr>
          <a:ln w="3368">
            <a:solidFill>
              <a:schemeClr val="tx1"/>
            </a:solidFill>
            <a:prstDash val="solid"/>
          </a:ln>
        </c:spPr>
        <c:txPr>
          <a:bodyPr rot="-5400000" vert="horz"/>
          <a:lstStyle/>
          <a:p>
            <a:pPr>
              <a:defRPr sz="1100" b="1" i="0" u="none" strike="noStrike" baseline="0">
                <a:solidFill>
                  <a:schemeClr val="tx1"/>
                </a:solidFill>
                <a:latin typeface="Arial" panose="020B0604020202020204" pitchFamily="34" charset="0"/>
                <a:ea typeface="Arial"/>
                <a:cs typeface="Arial" panose="020B0604020202020204" pitchFamily="34" charset="0"/>
              </a:defRPr>
            </a:pPr>
            <a:endParaRPr lang="en-US"/>
          </a:p>
        </c:txPr>
        <c:crossAx val="382569520"/>
        <c:crosses val="autoZero"/>
        <c:auto val="0"/>
        <c:lblAlgn val="ctr"/>
        <c:lblOffset val="100"/>
        <c:noMultiLvlLbl val="0"/>
      </c:catAx>
      <c:valAx>
        <c:axId val="382569520"/>
        <c:scaling>
          <c:orientation val="minMax"/>
          <c:max val="120"/>
        </c:scaling>
        <c:delete val="0"/>
        <c:axPos val="l"/>
        <c:majorGridlines/>
        <c:numFmt formatCode="0" sourceLinked="0"/>
        <c:majorTickMark val="out"/>
        <c:minorTickMark val="none"/>
        <c:tickLblPos val="nextTo"/>
        <c:spPr>
          <a:ln w="3368">
            <a:solidFill>
              <a:schemeClr val="tx1"/>
            </a:solidFill>
            <a:prstDash val="solid"/>
          </a:ln>
        </c:spPr>
        <c:txPr>
          <a:bodyPr rot="0" vert="horz"/>
          <a:lstStyle/>
          <a:p>
            <a:pPr>
              <a:defRPr sz="1400" b="1" i="0" u="none" strike="noStrike" baseline="0">
                <a:solidFill>
                  <a:srgbClr val="3F3F3F"/>
                </a:solidFill>
                <a:latin typeface="+mj-lt"/>
                <a:ea typeface="Arial"/>
                <a:cs typeface="Arial"/>
              </a:defRPr>
            </a:pPr>
            <a:endParaRPr lang="en-US"/>
          </a:p>
        </c:txPr>
        <c:crossAx val="382568736"/>
        <c:crosses val="autoZero"/>
        <c:crossBetween val="between"/>
      </c:valAx>
      <c:spPr>
        <a:noFill/>
        <a:ln w="25400">
          <a:noFill/>
        </a:ln>
      </c:spPr>
    </c:plotArea>
    <c:legend>
      <c:legendPos val="r"/>
      <c:layout>
        <c:manualLayout>
          <c:xMode val="edge"/>
          <c:yMode val="edge"/>
          <c:x val="8.8329010163295821E-2"/>
          <c:y val="6.6590132274793367E-3"/>
          <c:w val="0.38535849495924185"/>
          <c:h val="8.5079379139328046E-2"/>
        </c:manualLayout>
      </c:layout>
      <c:overlay val="0"/>
      <c:txPr>
        <a:bodyPr/>
        <a:lstStyle/>
        <a:p>
          <a:pPr>
            <a:defRPr sz="1400" b="1">
              <a:latin typeface="+mj-lt"/>
            </a:defRPr>
          </a:pPr>
          <a:endParaRPr lang="en-US"/>
        </a:p>
      </c:txPr>
    </c:legend>
    <c:plotVisOnly val="1"/>
    <c:dispBlanksAs val="gap"/>
    <c:showDLblsOverMax val="0"/>
  </c:chart>
  <c:spPr>
    <a:noFill/>
    <a:ln>
      <a:noFill/>
    </a:ln>
  </c:spPr>
  <c:txPr>
    <a:bodyPr/>
    <a:lstStyle/>
    <a:p>
      <a:pPr>
        <a:defRPr sz="1909" b="1" i="0" u="none" strike="noStrike" baseline="0">
          <a:solidFill>
            <a:schemeClr val="tx1"/>
          </a:solidFill>
          <a:latin typeface="Times New Roman"/>
          <a:ea typeface="Times New Roman"/>
          <a:cs typeface="Times New Roman"/>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671649996453144E-2"/>
          <c:y val="0.12066061170710426"/>
          <c:w val="0.85445724267574663"/>
          <c:h val="0.68403342666067246"/>
        </c:manualLayout>
      </c:layout>
      <c:lineChart>
        <c:grouping val="standard"/>
        <c:varyColors val="0"/>
        <c:ser>
          <c:idx val="0"/>
          <c:order val="0"/>
          <c:tx>
            <c:strRef>
              <c:f>Sheet1!$B$1</c:f>
              <c:strCache>
                <c:ptCount val="1"/>
                <c:pt idx="0">
                  <c:v>OCC</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33</c:f>
              <c:numCache>
                <c:formatCode>m/d/yyyy</c:formatCode>
                <c:ptCount val="32"/>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pt idx="16">
                  <c:v>44287</c:v>
                </c:pt>
                <c:pt idx="17">
                  <c:v>44317</c:v>
                </c:pt>
                <c:pt idx="18">
                  <c:v>44348</c:v>
                </c:pt>
                <c:pt idx="19">
                  <c:v>44378</c:v>
                </c:pt>
                <c:pt idx="20">
                  <c:v>44409</c:v>
                </c:pt>
                <c:pt idx="21">
                  <c:v>44440</c:v>
                </c:pt>
                <c:pt idx="22">
                  <c:v>44470</c:v>
                </c:pt>
                <c:pt idx="23">
                  <c:v>44501</c:v>
                </c:pt>
                <c:pt idx="24">
                  <c:v>44531</c:v>
                </c:pt>
                <c:pt idx="25">
                  <c:v>44562</c:v>
                </c:pt>
                <c:pt idx="26">
                  <c:v>44593</c:v>
                </c:pt>
                <c:pt idx="27">
                  <c:v>44621</c:v>
                </c:pt>
                <c:pt idx="28">
                  <c:v>44652</c:v>
                </c:pt>
                <c:pt idx="29">
                  <c:v>44682</c:v>
                </c:pt>
                <c:pt idx="30">
                  <c:v>44713</c:v>
                </c:pt>
                <c:pt idx="31">
                  <c:v>44743</c:v>
                </c:pt>
              </c:numCache>
            </c:numRef>
          </c:cat>
          <c:val>
            <c:numRef>
              <c:f>Sheet1!$B$2:$B$33</c:f>
              <c:numCache>
                <c:formatCode>0.0%</c:formatCode>
                <c:ptCount val="32"/>
                <c:pt idx="0">
                  <c:v>0.66420799843444567</c:v>
                </c:pt>
                <c:pt idx="1">
                  <c:v>0.66659547146711562</c:v>
                </c:pt>
                <c:pt idx="2">
                  <c:v>0.66945515244430931</c:v>
                </c:pt>
                <c:pt idx="3">
                  <c:v>0.64713602469401665</c:v>
                </c:pt>
                <c:pt idx="4">
                  <c:v>0.6175581578447803</c:v>
                </c:pt>
                <c:pt idx="5">
                  <c:v>0.58939761799427859</c:v>
                </c:pt>
                <c:pt idx="6">
                  <c:v>0.56902266019045289</c:v>
                </c:pt>
                <c:pt idx="7">
                  <c:v>0.55251921943135285</c:v>
                </c:pt>
                <c:pt idx="8">
                  <c:v>0.54070625185088095</c:v>
                </c:pt>
                <c:pt idx="9">
                  <c:v>0.52756913176152198</c:v>
                </c:pt>
                <c:pt idx="10">
                  <c:v>0.51389421614253006</c:v>
                </c:pt>
                <c:pt idx="11">
                  <c:v>0.50270360638105305</c:v>
                </c:pt>
                <c:pt idx="12">
                  <c:v>0.49266315251735443</c:v>
                </c:pt>
                <c:pt idx="13">
                  <c:v>0.48424574063312487</c:v>
                </c:pt>
                <c:pt idx="14">
                  <c:v>0.47469609878014024</c:v>
                </c:pt>
                <c:pt idx="15">
                  <c:v>0.48834783596825165</c:v>
                </c:pt>
                <c:pt idx="16">
                  <c:v>0.51581271994482691</c:v>
                </c:pt>
                <c:pt idx="17">
                  <c:v>0.53806283812925459</c:v>
                </c:pt>
                <c:pt idx="18">
                  <c:v>0.55626888911731232</c:v>
                </c:pt>
                <c:pt idx="19">
                  <c:v>0.57071223939393578</c:v>
                </c:pt>
                <c:pt idx="20">
                  <c:v>0.5807666892753296</c:v>
                </c:pt>
                <c:pt idx="21">
                  <c:v>0.59046434024007699</c:v>
                </c:pt>
                <c:pt idx="22">
                  <c:v>0.59817848413119312</c:v>
                </c:pt>
                <c:pt idx="23">
                  <c:v>0.60737125734275643</c:v>
                </c:pt>
                <c:pt idx="24">
                  <c:v>0.61851129652518788</c:v>
                </c:pt>
                <c:pt idx="25">
                  <c:v>0.62073808837254174</c:v>
                </c:pt>
                <c:pt idx="26">
                  <c:v>0.6301392774909006</c:v>
                </c:pt>
                <c:pt idx="27">
                  <c:v>0.63538556098706622</c:v>
                </c:pt>
                <c:pt idx="28">
                  <c:v>0.63802340093918297</c:v>
                </c:pt>
                <c:pt idx="29">
                  <c:v>0.63850182611449879</c:v>
                </c:pt>
                <c:pt idx="30">
                  <c:v>0.63736877935104463</c:v>
                </c:pt>
                <c:pt idx="31">
                  <c:v>0.63485480016426576</c:v>
                </c:pt>
              </c:numCache>
            </c:numRef>
          </c:val>
          <c:smooth val="0"/>
          <c:extLst>
            <c:ext xmlns:c16="http://schemas.microsoft.com/office/drawing/2014/chart" uri="{C3380CC4-5D6E-409C-BE32-E72D297353CC}">
              <c16:uniqueId val="{00000000-DEF1-48A1-AAE1-5462524E9B0B}"/>
            </c:ext>
          </c:extLst>
        </c:ser>
        <c:dLbls>
          <c:showLegendKey val="0"/>
          <c:showVal val="0"/>
          <c:showCatName val="0"/>
          <c:showSerName val="0"/>
          <c:showPercent val="0"/>
          <c:showBubbleSize val="0"/>
        </c:dLbls>
        <c:marker val="1"/>
        <c:smooth val="0"/>
        <c:axId val="1016905024"/>
        <c:axId val="1016906672"/>
      </c:lineChart>
      <c:lineChart>
        <c:grouping val="standard"/>
        <c:varyColors val="0"/>
        <c:ser>
          <c:idx val="1"/>
          <c:order val="1"/>
          <c:tx>
            <c:strRef>
              <c:f>Sheet1!$C$1</c:f>
              <c:strCache>
                <c:ptCount val="1"/>
                <c:pt idx="0">
                  <c:v>ADR</c:v>
                </c:pt>
              </c:strCache>
            </c:strRef>
          </c:tx>
          <c:spPr>
            <a:ln w="28575" cap="rnd">
              <a:solidFill>
                <a:schemeClr val="accent2"/>
              </a:solidFill>
              <a:round/>
            </a:ln>
            <a:effectLst/>
          </c:spPr>
          <c:marker>
            <c:symbol val="square"/>
            <c:size val="8"/>
            <c:spPr>
              <a:solidFill>
                <a:schemeClr val="accent2"/>
              </a:solidFill>
              <a:ln w="9525">
                <a:solidFill>
                  <a:schemeClr val="accent2"/>
                </a:solidFill>
              </a:ln>
              <a:effectLst/>
            </c:spPr>
          </c:marker>
          <c:cat>
            <c:numRef>
              <c:f>Sheet1!$A$2:$A$33</c:f>
              <c:numCache>
                <c:formatCode>m/d/yyyy</c:formatCode>
                <c:ptCount val="32"/>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pt idx="16">
                  <c:v>44287</c:v>
                </c:pt>
                <c:pt idx="17">
                  <c:v>44317</c:v>
                </c:pt>
                <c:pt idx="18">
                  <c:v>44348</c:v>
                </c:pt>
                <c:pt idx="19">
                  <c:v>44378</c:v>
                </c:pt>
                <c:pt idx="20">
                  <c:v>44409</c:v>
                </c:pt>
                <c:pt idx="21">
                  <c:v>44440</c:v>
                </c:pt>
                <c:pt idx="22">
                  <c:v>44470</c:v>
                </c:pt>
                <c:pt idx="23">
                  <c:v>44501</c:v>
                </c:pt>
                <c:pt idx="24">
                  <c:v>44531</c:v>
                </c:pt>
                <c:pt idx="25">
                  <c:v>44562</c:v>
                </c:pt>
                <c:pt idx="26">
                  <c:v>44593</c:v>
                </c:pt>
                <c:pt idx="27">
                  <c:v>44621</c:v>
                </c:pt>
                <c:pt idx="28">
                  <c:v>44652</c:v>
                </c:pt>
                <c:pt idx="29">
                  <c:v>44682</c:v>
                </c:pt>
                <c:pt idx="30">
                  <c:v>44713</c:v>
                </c:pt>
                <c:pt idx="31">
                  <c:v>44743</c:v>
                </c:pt>
              </c:numCache>
            </c:numRef>
          </c:cat>
          <c:val>
            <c:numRef>
              <c:f>Sheet1!$C$2:$C$33</c:f>
              <c:numCache>
                <c:formatCode>"$"#,##0.00</c:formatCode>
                <c:ptCount val="32"/>
                <c:pt idx="0">
                  <c:v>96.783307197980349</c:v>
                </c:pt>
                <c:pt idx="1">
                  <c:v>96.81163354666009</c:v>
                </c:pt>
                <c:pt idx="2">
                  <c:v>96.871135615175362</c:v>
                </c:pt>
                <c:pt idx="3">
                  <c:v>95.862541041458897</c:v>
                </c:pt>
                <c:pt idx="4">
                  <c:v>94.341150239219118</c:v>
                </c:pt>
                <c:pt idx="5">
                  <c:v>91.557754481246306</c:v>
                </c:pt>
                <c:pt idx="6">
                  <c:v>89.87695894634065</c:v>
                </c:pt>
                <c:pt idx="7">
                  <c:v>87.800809808631172</c:v>
                </c:pt>
                <c:pt idx="8">
                  <c:v>86.038518643348795</c:v>
                </c:pt>
                <c:pt idx="9">
                  <c:v>83.834215965469966</c:v>
                </c:pt>
                <c:pt idx="10">
                  <c:v>81.394261042097739</c:v>
                </c:pt>
                <c:pt idx="11">
                  <c:v>79.724955295934265</c:v>
                </c:pt>
                <c:pt idx="12">
                  <c:v>78.032401712056412</c:v>
                </c:pt>
                <c:pt idx="13">
                  <c:v>76.368900278890919</c:v>
                </c:pt>
                <c:pt idx="14">
                  <c:v>74.562412948846656</c:v>
                </c:pt>
                <c:pt idx="15">
                  <c:v>74.779944167373841</c:v>
                </c:pt>
                <c:pt idx="16">
                  <c:v>76.996748727860378</c:v>
                </c:pt>
                <c:pt idx="17">
                  <c:v>80.236924299796897</c:v>
                </c:pt>
                <c:pt idx="18">
                  <c:v>83.229142831108049</c:v>
                </c:pt>
                <c:pt idx="19">
                  <c:v>86.19972740507049</c:v>
                </c:pt>
                <c:pt idx="20">
                  <c:v>88.609258316313898</c:v>
                </c:pt>
                <c:pt idx="21">
                  <c:v>91.06157439685343</c:v>
                </c:pt>
                <c:pt idx="22">
                  <c:v>93.326857076429349</c:v>
                </c:pt>
                <c:pt idx="23">
                  <c:v>95.172367419199716</c:v>
                </c:pt>
                <c:pt idx="24">
                  <c:v>96.974658410235136</c:v>
                </c:pt>
                <c:pt idx="25">
                  <c:v>98.178292868312738</c:v>
                </c:pt>
                <c:pt idx="26">
                  <c:v>99.812884318147965</c:v>
                </c:pt>
                <c:pt idx="27">
                  <c:v>102.18396267481143</c:v>
                </c:pt>
                <c:pt idx="28">
                  <c:v>104.44089850047004</c:v>
                </c:pt>
                <c:pt idx="29">
                  <c:v>106.23748463731427</c:v>
                </c:pt>
                <c:pt idx="30">
                  <c:v>107.14097584159101</c:v>
                </c:pt>
                <c:pt idx="31">
                  <c:v>107.64614940779943</c:v>
                </c:pt>
              </c:numCache>
            </c:numRef>
          </c:val>
          <c:smooth val="0"/>
          <c:extLst>
            <c:ext xmlns:c16="http://schemas.microsoft.com/office/drawing/2014/chart" uri="{C3380CC4-5D6E-409C-BE32-E72D297353CC}">
              <c16:uniqueId val="{00000001-DEF1-48A1-AAE1-5462524E9B0B}"/>
            </c:ext>
          </c:extLst>
        </c:ser>
        <c:ser>
          <c:idx val="2"/>
          <c:order val="2"/>
          <c:tx>
            <c:strRef>
              <c:f>Sheet1!$D$1</c:f>
              <c:strCache>
                <c:ptCount val="1"/>
                <c:pt idx="0">
                  <c:v>RevPAR</c:v>
                </c:pt>
              </c:strCache>
            </c:strRef>
          </c:tx>
          <c:spPr>
            <a:ln w="57150" cap="rnd">
              <a:solidFill>
                <a:schemeClr val="accent3"/>
              </a:solidFill>
              <a:round/>
            </a:ln>
            <a:effectLst/>
          </c:spPr>
          <c:marker>
            <c:symbol val="none"/>
          </c:marker>
          <c:cat>
            <c:numRef>
              <c:f>Sheet1!$A$2:$A$33</c:f>
              <c:numCache>
                <c:formatCode>m/d/yyyy</c:formatCode>
                <c:ptCount val="32"/>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pt idx="16">
                  <c:v>44287</c:v>
                </c:pt>
                <c:pt idx="17">
                  <c:v>44317</c:v>
                </c:pt>
                <c:pt idx="18">
                  <c:v>44348</c:v>
                </c:pt>
                <c:pt idx="19">
                  <c:v>44378</c:v>
                </c:pt>
                <c:pt idx="20">
                  <c:v>44409</c:v>
                </c:pt>
                <c:pt idx="21">
                  <c:v>44440</c:v>
                </c:pt>
                <c:pt idx="22">
                  <c:v>44470</c:v>
                </c:pt>
                <c:pt idx="23">
                  <c:v>44501</c:v>
                </c:pt>
                <c:pt idx="24">
                  <c:v>44531</c:v>
                </c:pt>
                <c:pt idx="25">
                  <c:v>44562</c:v>
                </c:pt>
                <c:pt idx="26">
                  <c:v>44593</c:v>
                </c:pt>
                <c:pt idx="27">
                  <c:v>44621</c:v>
                </c:pt>
                <c:pt idx="28">
                  <c:v>44652</c:v>
                </c:pt>
                <c:pt idx="29">
                  <c:v>44682</c:v>
                </c:pt>
                <c:pt idx="30">
                  <c:v>44713</c:v>
                </c:pt>
                <c:pt idx="31">
                  <c:v>44743</c:v>
                </c:pt>
              </c:numCache>
            </c:numRef>
          </c:cat>
          <c:val>
            <c:numRef>
              <c:f>Sheet1!$D$2:$D$33</c:f>
              <c:numCache>
                <c:formatCode>"$"#,##0.00</c:formatCode>
                <c:ptCount val="32"/>
                <c:pt idx="0">
                  <c:v>64.284246755836605</c:v>
                </c:pt>
                <c:pt idx="1">
                  <c:v>64.534196507537516</c:v>
                </c:pt>
                <c:pt idx="2">
                  <c:v>64.850880860710589</c:v>
                </c:pt>
                <c:pt idx="3">
                  <c:v>62.036103726636732</c:v>
                </c:pt>
                <c:pt idx="4">
                  <c:v>58.26114695068982</c:v>
                </c:pt>
                <c:pt idx="5">
                  <c:v>53.963922400151553</c:v>
                </c:pt>
                <c:pt idx="6">
                  <c:v>51.142026269474876</c:v>
                </c:pt>
                <c:pt idx="7">
                  <c:v>48.511634900905563</c:v>
                </c:pt>
                <c:pt idx="8">
                  <c:v>46.521564930447276</c:v>
                </c:pt>
                <c:pt idx="9">
                  <c:v>44.228344528810915</c:v>
                </c:pt>
                <c:pt idx="10">
                  <c:v>41.828039976729286</c:v>
                </c:pt>
                <c:pt idx="11">
                  <c:v>40.078022545834386</c:v>
                </c:pt>
                <c:pt idx="12">
                  <c:v>38.443689025962321</c:v>
                </c:pt>
                <c:pt idx="13">
                  <c:v>36.981314676888793</c:v>
                </c:pt>
                <c:pt idx="14">
                  <c:v>35.394486542451325</c:v>
                </c:pt>
                <c:pt idx="15">
                  <c:v>36.518623907963693</c:v>
                </c:pt>
                <c:pt idx="16">
                  <c:v>39.715902388226056</c:v>
                </c:pt>
                <c:pt idx="17">
                  <c:v>43.172507211510869</c:v>
                </c:pt>
                <c:pt idx="18">
                  <c:v>46.297782824846593</c:v>
                </c:pt>
                <c:pt idx="19">
                  <c:v>49.195239462494591</c:v>
                </c:pt>
                <c:pt idx="20">
                  <c:v>51.461305591508086</c:v>
                </c:pt>
                <c:pt idx="21">
                  <c:v>53.768612447460754</c:v>
                </c:pt>
                <c:pt idx="22">
                  <c:v>55.826117894707018</c:v>
                </c:pt>
                <c:pt idx="23">
                  <c:v>57.804960463686122</c:v>
                </c:pt>
                <c:pt idx="24">
                  <c:v>59.97992170340175</c:v>
                </c:pt>
                <c:pt idx="25">
                  <c:v>60.943005834756001</c:v>
                </c:pt>
                <c:pt idx="26">
                  <c:v>62.896018808520608</c:v>
                </c:pt>
                <c:pt idx="27">
                  <c:v>64.926214448016495</c:v>
                </c:pt>
                <c:pt idx="28">
                  <c:v>66.635737258413911</c:v>
                </c:pt>
                <c:pt idx="29">
                  <c:v>67.832827942736174</c:v>
                </c:pt>
                <c:pt idx="30">
                  <c:v>68.288312990634623</c:v>
                </c:pt>
                <c:pt idx="31">
                  <c:v>68.339674670741203</c:v>
                </c:pt>
              </c:numCache>
            </c:numRef>
          </c:val>
          <c:smooth val="0"/>
          <c:extLst>
            <c:ext xmlns:c16="http://schemas.microsoft.com/office/drawing/2014/chart" uri="{C3380CC4-5D6E-409C-BE32-E72D297353CC}">
              <c16:uniqueId val="{00000002-DEF1-48A1-AAE1-5462524E9B0B}"/>
            </c:ext>
          </c:extLst>
        </c:ser>
        <c:dLbls>
          <c:showLegendKey val="0"/>
          <c:showVal val="0"/>
          <c:showCatName val="0"/>
          <c:showSerName val="0"/>
          <c:showPercent val="0"/>
          <c:showBubbleSize val="0"/>
        </c:dLbls>
        <c:marker val="1"/>
        <c:smooth val="0"/>
        <c:axId val="1604850015"/>
        <c:axId val="1604852095"/>
      </c:lineChart>
      <c:dateAx>
        <c:axId val="1016905024"/>
        <c:scaling>
          <c:orientation val="minMax"/>
        </c:scaling>
        <c:delete val="0"/>
        <c:axPos val="b"/>
        <c:numFmt formatCode="[$-409]mmm\-yy;@" sourceLinked="0"/>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1016906672"/>
        <c:crosses val="autoZero"/>
        <c:auto val="1"/>
        <c:lblOffset val="100"/>
        <c:baseTimeUnit val="months"/>
      </c:dateAx>
      <c:valAx>
        <c:axId val="1016906672"/>
        <c:scaling>
          <c:orientation val="minMax"/>
          <c:max val="0.8"/>
          <c:min val="0.2"/>
        </c:scaling>
        <c:delete val="0"/>
        <c:axPos val="l"/>
        <c:majorGridlines>
          <c:spPr>
            <a:ln w="9525" cap="flat" cmpd="sng" algn="ctr">
              <a:solidFill>
                <a:schemeClr val="bg1">
                  <a:lumMod val="75000"/>
                </a:schemeClr>
              </a:solidFill>
              <a:round/>
            </a:ln>
            <a:effectLst/>
          </c:spPr>
        </c:majorGridlines>
        <c:title>
          <c:tx>
            <c:rich>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US" sz="1400" b="1" dirty="0">
                    <a:solidFill>
                      <a:schemeClr val="tx1"/>
                    </a:solidFill>
                  </a:rPr>
                  <a:t>Occupancy</a:t>
                </a:r>
              </a:p>
            </c:rich>
          </c:tx>
          <c:overlay val="0"/>
          <c:spPr>
            <a:noFill/>
            <a:ln>
              <a:noFill/>
            </a:ln>
            <a:effectLst/>
          </c:spPr>
          <c:txPr>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1016905024"/>
        <c:crosses val="autoZero"/>
        <c:crossBetween val="between"/>
      </c:valAx>
      <c:valAx>
        <c:axId val="1604852095"/>
        <c:scaling>
          <c:orientation val="minMax"/>
        </c:scaling>
        <c:delete val="0"/>
        <c:axPos val="r"/>
        <c:title>
          <c:tx>
            <c:rich>
              <a:bodyPr rot="-5400000" spcFirstLastPara="1" vertOverflow="ellipsis" vert="horz" wrap="square" anchor="ctr" anchorCtr="1"/>
              <a:lstStyle/>
              <a:p>
                <a:pPr>
                  <a:defRPr sz="1330" b="1" i="0" u="none" strike="noStrike" kern="1200" baseline="0">
                    <a:solidFill>
                      <a:srgbClr val="000000"/>
                    </a:solidFill>
                    <a:latin typeface="+mn-lt"/>
                    <a:ea typeface="+mn-ea"/>
                    <a:cs typeface="+mn-cs"/>
                  </a:defRPr>
                </a:pPr>
                <a:r>
                  <a:rPr lang="en-US" b="1" dirty="0">
                    <a:solidFill>
                      <a:srgbClr val="000000"/>
                    </a:solidFill>
                  </a:rPr>
                  <a:t>ADR &amp; RevPAR</a:t>
                </a:r>
              </a:p>
            </c:rich>
          </c:tx>
          <c:overlay val="0"/>
          <c:spPr>
            <a:noFill/>
            <a:ln>
              <a:noFill/>
            </a:ln>
            <a:effectLst/>
          </c:spPr>
          <c:txPr>
            <a:bodyPr rot="-5400000" spcFirstLastPara="1" vertOverflow="ellipsis" vert="horz" wrap="square" anchor="ctr" anchorCtr="1"/>
            <a:lstStyle/>
            <a:p>
              <a:pPr>
                <a:defRPr sz="1330" b="1" i="0" u="none" strike="noStrike" kern="1200" baseline="0">
                  <a:solidFill>
                    <a:srgbClr val="000000"/>
                  </a:solidFill>
                  <a:latin typeface="+mn-lt"/>
                  <a:ea typeface="+mn-ea"/>
                  <a:cs typeface="+mn-cs"/>
                </a:defRPr>
              </a:pPr>
              <a:endParaRPr lang="en-US"/>
            </a:p>
          </c:txPr>
        </c:title>
        <c:numFmt formatCode="&quot;$&quot;#,##0" sourceLinked="0"/>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en-US"/>
          </a:p>
        </c:txPr>
        <c:crossAx val="1604850015"/>
        <c:crosses val="max"/>
        <c:crossBetween val="between"/>
      </c:valAx>
      <c:dateAx>
        <c:axId val="1604850015"/>
        <c:scaling>
          <c:orientation val="minMax"/>
        </c:scaling>
        <c:delete val="1"/>
        <c:axPos val="b"/>
        <c:numFmt formatCode="m/d/yyyy" sourceLinked="1"/>
        <c:majorTickMark val="out"/>
        <c:minorTickMark val="none"/>
        <c:tickLblPos val="nextTo"/>
        <c:crossAx val="1604852095"/>
        <c:crosses val="autoZero"/>
        <c:auto val="1"/>
        <c:lblOffset val="100"/>
        <c:baseTimeUnit val="months"/>
        <c:majorUnit val="1"/>
        <c:minorUnit val="1"/>
      </c:date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66CE6B-A12B-445D-9B0C-CF4B45C1C8DD}" type="datetimeFigureOut">
              <a:rPr lang="en-US" smtClean="0"/>
              <a:t>8/22/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E9B9E1F-523E-4951-B58D-602859D20D61}" type="slidenum">
              <a:rPr lang="en-US" smtClean="0"/>
              <a:t>‹#›</a:t>
            </a:fld>
            <a:endParaRPr lang="en-US" dirty="0"/>
          </a:p>
        </p:txBody>
      </p:sp>
    </p:spTree>
    <p:extLst>
      <p:ext uri="{BB962C8B-B14F-4D97-AF65-F5344CB8AC3E}">
        <p14:creationId xmlns:p14="http://schemas.microsoft.com/office/powerpoint/2010/main" val="34709227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AE0C57-C421-458E-8787-9FE12760EAF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24917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22B48FC-AB47-4F5D-9725-BF22E783BCCD}" type="slidenum">
              <a:rPr lang="en-GB" smtClean="0"/>
              <a:t>11</a:t>
            </a:fld>
            <a:endParaRPr lang="en-GB" dirty="0"/>
          </a:p>
        </p:txBody>
      </p:sp>
    </p:spTree>
    <p:extLst>
      <p:ext uri="{BB962C8B-B14F-4D97-AF65-F5344CB8AC3E}">
        <p14:creationId xmlns:p14="http://schemas.microsoft.com/office/powerpoint/2010/main" val="2945178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Rot="1" noChangeAspect="1" noChangeArrowheads="1" noTextEdit="1"/>
          </p:cNvSpPr>
          <p:nvPr>
            <p:ph type="sldImg"/>
          </p:nvPr>
        </p:nvSpPr>
        <p:spPr>
          <a:xfrm>
            <a:off x="368300" y="708025"/>
            <a:ext cx="6299200" cy="3544888"/>
          </a:xfrm>
          <a:ln/>
        </p:spPr>
      </p:sp>
      <p:sp>
        <p:nvSpPr>
          <p:cNvPr id="128003" name="Rectangle 3"/>
          <p:cNvSpPr>
            <a:spLocks noGrp="1" noChangeArrowheads="1"/>
          </p:cNvSpPr>
          <p:nvPr>
            <p:ph type="body" idx="1"/>
          </p:nvPr>
        </p:nvSpPr>
        <p:spPr>
          <a:xfrm>
            <a:off x="938884" y="4489703"/>
            <a:ext cx="5156979" cy="4252165"/>
          </a:xfrm>
          <a:noFill/>
          <a:ln/>
        </p:spPr>
        <p:txBody>
          <a:bodyPr/>
          <a:lstStyle/>
          <a:p>
            <a:pPr marL="171450" indent="-171450" eaLnBrk="1" hangingPunct="1">
              <a:buFont typeface="Arial" panose="020B0604020202020204" pitchFamily="34" charset="0"/>
              <a:buChar char="•"/>
            </a:pPr>
            <a:r>
              <a:rPr lang="en-US" dirty="0"/>
              <a:t>Leisure will continue to be a strong driver, but its growth rate will slow.</a:t>
            </a:r>
          </a:p>
          <a:p>
            <a:pPr marL="171450" indent="-171450" eaLnBrk="1" hangingPunct="1">
              <a:buFont typeface="Arial" panose="020B0604020202020204" pitchFamily="34" charset="0"/>
              <a:buChar char="•"/>
            </a:pPr>
            <a:r>
              <a:rPr lang="en-US" dirty="0"/>
              <a:t>Business travel and Group are expected to return in 2022.</a:t>
            </a:r>
          </a:p>
        </p:txBody>
      </p:sp>
    </p:spTree>
    <p:extLst>
      <p:ext uri="{BB962C8B-B14F-4D97-AF65-F5344CB8AC3E}">
        <p14:creationId xmlns:p14="http://schemas.microsoft.com/office/powerpoint/2010/main" val="18820426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E9B9E1F-523E-4951-B58D-602859D20D61}" type="slidenum">
              <a:rPr lang="en-US" smtClean="0"/>
              <a:t>13</a:t>
            </a:fld>
            <a:endParaRPr lang="en-US" dirty="0"/>
          </a:p>
        </p:txBody>
      </p:sp>
    </p:spTree>
    <p:extLst>
      <p:ext uri="{BB962C8B-B14F-4D97-AF65-F5344CB8AC3E}">
        <p14:creationId xmlns:p14="http://schemas.microsoft.com/office/powerpoint/2010/main" val="1594503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Luxury &amp; Upper Upscale Class data (Monthly data from March 2020-April 2022; Daily data (1-30 June) for 2019 and 2022</a:t>
            </a:r>
          </a:p>
          <a:p>
            <a:pPr marL="171450" indent="-171450">
              <a:buFont typeface="Arial" panose="020B0604020202020204" pitchFamily="34" charset="0"/>
              <a:buChar char="•"/>
            </a:pPr>
            <a:r>
              <a:rPr lang="en-US" dirty="0"/>
              <a:t>Prior to Omicron, group demand had been rising in every month since June. The good news is that it is advancing again. </a:t>
            </a:r>
          </a:p>
          <a:p>
            <a:pPr marL="171450" indent="-171450">
              <a:buFont typeface="Arial" panose="020B0604020202020204" pitchFamily="34" charset="0"/>
              <a:buChar char="•"/>
            </a:pPr>
            <a:r>
              <a:rPr lang="en-US" dirty="0">
                <a:effectLst/>
                <a:latin typeface="Calibri" panose="020F0502020204030204" pitchFamily="34" charset="0"/>
                <a:ea typeface="Calibri" panose="020F0502020204030204" pitchFamily="34" charset="0"/>
                <a:cs typeface="Times New Roman" panose="02020603050405020304" pitchFamily="18" charset="0"/>
              </a:rPr>
              <a:t>In week ending 21 May 2022, group demand achieved its second highest level of the pandemic era. This was the fourth week of elevated group demand with the weekly total at 97% of the comparable week of 2019. Weekday group demand was 86% of 2019’s level with weekend group demand surpassing 2019 by 22%. </a:t>
            </a:r>
          </a:p>
          <a:p>
            <a:pPr marL="171450" indent="-171450">
              <a:buFont typeface="Arial" panose="020B0604020202020204" pitchFamily="34" charset="0"/>
              <a:buChar char="•"/>
            </a:pPr>
            <a:r>
              <a:rPr lang="en-US" dirty="0">
                <a:effectLst/>
                <a:latin typeface="Calibri" panose="020F0502020204030204" pitchFamily="34" charset="0"/>
                <a:ea typeface="Calibri" panose="020F0502020204030204" pitchFamily="34" charset="0"/>
                <a:cs typeface="Times New Roman" panose="02020603050405020304" pitchFamily="18" charset="0"/>
              </a:rPr>
              <a:t>Group RevPAR also surpassed 2019 for the second time, however this week’s attainment (week </a:t>
            </a:r>
            <a:r>
              <a:rPr lang="en-US" dirty="0">
                <a:latin typeface="Calibri" panose="020F0502020204030204" pitchFamily="34" charset="0"/>
                <a:ea typeface="Calibri" panose="020F0502020204030204" pitchFamily="34" charset="0"/>
                <a:cs typeface="Times New Roman" panose="02020603050405020304" pitchFamily="18" charset="0"/>
              </a:rPr>
              <a:t>ending 28 May) </a:t>
            </a:r>
            <a:r>
              <a:rPr lang="en-US" dirty="0">
                <a:effectLst/>
                <a:latin typeface="Calibri" panose="020F0502020204030204" pitchFamily="34" charset="0"/>
                <a:ea typeface="Calibri" panose="020F0502020204030204" pitchFamily="34" charset="0"/>
                <a:cs typeface="Times New Roman" panose="02020603050405020304" pitchFamily="18" charset="0"/>
              </a:rPr>
              <a:t>was more significant given its high volume. When group demand previously surpassed 2019, the volume was low and based on holiday groups.</a:t>
            </a:r>
            <a:endParaRPr lang="en-US" sz="1000" dirty="0"/>
          </a:p>
        </p:txBody>
      </p:sp>
      <p:sp>
        <p:nvSpPr>
          <p:cNvPr id="4" name="Slide Number Placeholder 3"/>
          <p:cNvSpPr>
            <a:spLocks noGrp="1"/>
          </p:cNvSpPr>
          <p:nvPr>
            <p:ph type="sldNum" sz="quarter" idx="5"/>
          </p:nvPr>
        </p:nvSpPr>
        <p:spPr/>
        <p:txBody>
          <a:bodyPr/>
          <a:lstStyle/>
          <a:p>
            <a:fld id="{15E68D5F-1C11-4C1E-9901-5A52AE935E20}" type="slidenum">
              <a:rPr lang="en-GB" smtClean="0"/>
              <a:t>14</a:t>
            </a:fld>
            <a:endParaRPr lang="en-GB"/>
          </a:p>
        </p:txBody>
      </p:sp>
    </p:spTree>
    <p:extLst>
      <p:ext uri="{BB962C8B-B14F-4D97-AF65-F5344CB8AC3E}">
        <p14:creationId xmlns:p14="http://schemas.microsoft.com/office/powerpoint/2010/main" val="4007105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n-US" b="0" dirty="0"/>
              <a:t>The main story here is that nominal RevPAR is now expected to be back to 2019 levels this year.</a:t>
            </a:r>
          </a:p>
          <a:p>
            <a:pPr marL="171450" indent="-171450" algn="l">
              <a:buFont typeface="Arial" panose="020B0604020202020204" pitchFamily="34" charset="0"/>
              <a:buChar char="•"/>
            </a:pPr>
            <a:r>
              <a:rPr lang="en-US" b="0" dirty="0"/>
              <a:t>However, given the increase in inflation and the expectation that it will remain higher than what was seen since the early 1990’s, it’s important to keep an eye on real ADR and real RevPA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In terms of inflation, using CPI (and 2019 as a base year), our inflation assumption for 2022 is 7.4% and 2% for 2023 and 2024.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For 2022, it should be noted that we’re anticipating more inflation during the first half of the year at or above 7% and gradually leveling off to </a:t>
            </a:r>
            <a:r>
              <a:rPr lang="en-US" dirty="0"/>
              <a:t>6</a:t>
            </a:r>
            <a:r>
              <a:rPr lang="en-US" b="0" dirty="0"/>
              <a:t>% in Q4.  </a:t>
            </a:r>
          </a:p>
          <a:p>
            <a:pPr marL="171450" indent="-171450" algn="l">
              <a:buFont typeface="Arial" panose="020B0604020202020204" pitchFamily="34" charset="0"/>
              <a:buChar char="•"/>
            </a:pPr>
            <a:endParaRPr lang="en-US" b="0" dirty="0"/>
          </a:p>
          <a:p>
            <a:pPr marL="171450" indent="-171450" algn="l">
              <a:buFont typeface="Arial" panose="020B0604020202020204" pitchFamily="34" charset="0"/>
              <a:buChar char="•"/>
            </a:pPr>
            <a:endParaRPr lang="en-US" b="0" dirty="0"/>
          </a:p>
          <a:p>
            <a:endParaRPr lang="en-US" dirty="0"/>
          </a:p>
        </p:txBody>
      </p:sp>
    </p:spTree>
    <p:extLst>
      <p:ext uri="{BB962C8B-B14F-4D97-AF65-F5344CB8AC3E}">
        <p14:creationId xmlns:p14="http://schemas.microsoft.com/office/powerpoint/2010/main" val="27430544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n-US" b="0" dirty="0"/>
              <a:t>The main story here is that nominal RevPAR is now expected to be back to 2019 levels this year.</a:t>
            </a:r>
          </a:p>
          <a:p>
            <a:pPr marL="171450" indent="-171450" algn="l">
              <a:buFont typeface="Arial" panose="020B0604020202020204" pitchFamily="34" charset="0"/>
              <a:buChar char="•"/>
            </a:pPr>
            <a:r>
              <a:rPr lang="en-US" b="0" dirty="0"/>
              <a:t>However, given the increase in inflation and the expectation that it will remain higher than what was seen since the early 1990’s, it’s important to keep an eye on real ADR and real RevPA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In terms of inflation, using CPI (and 2019 as a base year), our inflation assumption for 2022 is 7.4% and 2% for 2023 and 2024.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For 2022, it should be noted that we’re anticipating more inflation during the first half of the year at or above 7% and gradually leveling off to </a:t>
            </a:r>
            <a:r>
              <a:rPr lang="en-US" dirty="0"/>
              <a:t>6</a:t>
            </a:r>
            <a:r>
              <a:rPr lang="en-US" b="0" dirty="0"/>
              <a:t>% in Q4.  </a:t>
            </a:r>
          </a:p>
          <a:p>
            <a:pPr marL="171450" indent="-171450" algn="l">
              <a:buFont typeface="Arial" panose="020B0604020202020204" pitchFamily="34" charset="0"/>
              <a:buChar char="•"/>
            </a:pPr>
            <a:endParaRPr lang="en-US" b="0" dirty="0"/>
          </a:p>
          <a:p>
            <a:pPr marL="171450" indent="-171450" algn="l">
              <a:buFont typeface="Arial" panose="020B0604020202020204" pitchFamily="34" charset="0"/>
              <a:buChar char="•"/>
            </a:pPr>
            <a:endParaRPr lang="en-US" b="0" dirty="0"/>
          </a:p>
          <a:p>
            <a:endParaRPr lang="en-US" dirty="0"/>
          </a:p>
        </p:txBody>
      </p:sp>
    </p:spTree>
    <p:extLst>
      <p:ext uri="{BB962C8B-B14F-4D97-AF65-F5344CB8AC3E}">
        <p14:creationId xmlns:p14="http://schemas.microsoft.com/office/powerpoint/2010/main" val="22082376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Rot="1" noChangeAspect="1" noChangeArrowheads="1" noTextEdit="1"/>
          </p:cNvSpPr>
          <p:nvPr>
            <p:ph type="sldImg"/>
          </p:nvPr>
        </p:nvSpPr>
        <p:spPr>
          <a:xfrm>
            <a:off x="368300" y="708025"/>
            <a:ext cx="6299200" cy="3544888"/>
          </a:xfrm>
          <a:ln/>
        </p:spPr>
      </p:sp>
      <p:sp>
        <p:nvSpPr>
          <p:cNvPr id="128003" name="Rectangle 3"/>
          <p:cNvSpPr>
            <a:spLocks noGrp="1" noChangeArrowheads="1"/>
          </p:cNvSpPr>
          <p:nvPr>
            <p:ph type="body" idx="1"/>
          </p:nvPr>
        </p:nvSpPr>
        <p:spPr>
          <a:xfrm>
            <a:off x="938884" y="4489703"/>
            <a:ext cx="5156979" cy="4252165"/>
          </a:xfrm>
          <a:noFill/>
          <a:ln/>
        </p:spPr>
        <p:txBody>
          <a:bodyPr/>
          <a:lstStyle/>
          <a:p>
            <a:pPr marL="171450" indent="-171450" eaLnBrk="1" hangingPunct="1">
              <a:buFont typeface="Arial" panose="020B0604020202020204" pitchFamily="34" charset="0"/>
              <a:buChar char="•"/>
            </a:pPr>
            <a:r>
              <a:rPr lang="en-US" dirty="0"/>
              <a:t>Leisure will continue to be a strong driver, but its growth rate will slow.</a:t>
            </a:r>
          </a:p>
          <a:p>
            <a:pPr marL="171450" indent="-171450" eaLnBrk="1" hangingPunct="1">
              <a:buFont typeface="Arial" panose="020B0604020202020204" pitchFamily="34" charset="0"/>
              <a:buChar char="•"/>
            </a:pPr>
            <a:r>
              <a:rPr lang="en-US" dirty="0"/>
              <a:t>Business travel and Group are expected to return in 2022.</a:t>
            </a:r>
          </a:p>
        </p:txBody>
      </p:sp>
    </p:spTree>
    <p:extLst>
      <p:ext uri="{BB962C8B-B14F-4D97-AF65-F5344CB8AC3E}">
        <p14:creationId xmlns:p14="http://schemas.microsoft.com/office/powerpoint/2010/main" val="35031523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Rot="1" noChangeAspect="1" noChangeArrowheads="1" noTextEdit="1"/>
          </p:cNvSpPr>
          <p:nvPr>
            <p:ph type="sldImg"/>
          </p:nvPr>
        </p:nvSpPr>
        <p:spPr>
          <a:xfrm>
            <a:off x="368300" y="708025"/>
            <a:ext cx="6299200" cy="3544888"/>
          </a:xfrm>
          <a:ln/>
        </p:spPr>
      </p:sp>
      <p:sp>
        <p:nvSpPr>
          <p:cNvPr id="128003" name="Rectangle 3"/>
          <p:cNvSpPr>
            <a:spLocks noGrp="1" noChangeArrowheads="1"/>
          </p:cNvSpPr>
          <p:nvPr>
            <p:ph type="body" idx="1"/>
          </p:nvPr>
        </p:nvSpPr>
        <p:spPr>
          <a:xfrm>
            <a:off x="938884" y="4489703"/>
            <a:ext cx="5156979" cy="4252165"/>
          </a:xfrm>
          <a:noFill/>
          <a:ln/>
        </p:spPr>
        <p:txBody>
          <a:bodyPr/>
          <a:lstStyle/>
          <a:p>
            <a:pPr marL="171450" indent="-171450" eaLnBrk="1" hangingPunct="1">
              <a:buFont typeface="Arial" panose="020B0604020202020204" pitchFamily="34" charset="0"/>
              <a:buChar char="•"/>
            </a:pPr>
            <a:r>
              <a:rPr lang="en-US" dirty="0"/>
              <a:t>This chart uses our algorithms in the Product along with our national forecast, allowing us to forecast individual markets. A good place to plug our integration with CoStar</a:t>
            </a:r>
          </a:p>
          <a:p>
            <a:pPr marL="171450" indent="-171450" eaLnBrk="1" hangingPunct="1">
              <a:buFont typeface="Arial" panose="020B0604020202020204" pitchFamily="34" charset="0"/>
              <a:buChar char="•"/>
            </a:pPr>
            <a:r>
              <a:rPr lang="en-US" dirty="0"/>
              <a:t>This all foots to our forecast.</a:t>
            </a:r>
          </a:p>
          <a:p>
            <a:pPr marL="171450" indent="-171450" eaLnBrk="1" hangingPunct="1">
              <a:buFont typeface="Arial" panose="020B0604020202020204" pitchFamily="34" charset="0"/>
              <a:buChar char="•"/>
            </a:pPr>
            <a:r>
              <a:rPr lang="en-US" dirty="0"/>
              <a:t>The highest bar is the nominal index to 2019 while the smaller one is the inflation adjusted (Real) 2019 index</a:t>
            </a:r>
          </a:p>
          <a:p>
            <a:pPr marL="171450" indent="-171450" eaLnBrk="1" hangingPunct="1">
              <a:buFont typeface="Arial" panose="020B0604020202020204" pitchFamily="34" charset="0"/>
              <a:buChar char="•"/>
            </a:pPr>
            <a:r>
              <a:rPr lang="en-US" dirty="0"/>
              <a:t>The big story is that the key markets, Top 25 and Central Business Districts will take the longest to recover on a “real” Basis</a:t>
            </a:r>
          </a:p>
        </p:txBody>
      </p:sp>
    </p:spTree>
    <p:extLst>
      <p:ext uri="{BB962C8B-B14F-4D97-AF65-F5344CB8AC3E}">
        <p14:creationId xmlns:p14="http://schemas.microsoft.com/office/powerpoint/2010/main" val="38141083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E68D5F-1C11-4C1E-9901-5A52AE935E20}" type="slidenum">
              <a:rPr lang="en-GB" smtClean="0"/>
              <a:t>23</a:t>
            </a:fld>
            <a:endParaRPr lang="en-GB" dirty="0"/>
          </a:p>
        </p:txBody>
      </p:sp>
    </p:spTree>
    <p:extLst>
      <p:ext uri="{BB962C8B-B14F-4D97-AF65-F5344CB8AC3E}">
        <p14:creationId xmlns:p14="http://schemas.microsoft.com/office/powerpoint/2010/main" val="5483257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BD5FC21-3F26-4215-9BAF-8E789DCC82EF}" type="slidenum">
              <a:rPr lang="en-GB" smtClean="0"/>
              <a:t>3</a:t>
            </a:fld>
            <a:endParaRPr lang="en-GB" dirty="0"/>
          </a:p>
        </p:txBody>
      </p:sp>
    </p:spTree>
    <p:extLst>
      <p:ext uri="{BB962C8B-B14F-4D97-AF65-F5344CB8AC3E}">
        <p14:creationId xmlns:p14="http://schemas.microsoft.com/office/powerpoint/2010/main" val="3202874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Rot="1" noChangeAspect="1" noChangeArrowheads="1" noTextEdit="1"/>
          </p:cNvSpPr>
          <p:nvPr>
            <p:ph type="sldImg"/>
          </p:nvPr>
        </p:nvSpPr>
        <p:spPr>
          <a:xfrm>
            <a:off x="368300" y="708025"/>
            <a:ext cx="6299200" cy="3544888"/>
          </a:xfrm>
          <a:ln/>
        </p:spPr>
      </p:sp>
      <p:sp>
        <p:nvSpPr>
          <p:cNvPr id="128003" name="Rectangle 3"/>
          <p:cNvSpPr>
            <a:spLocks noGrp="1" noChangeArrowheads="1"/>
          </p:cNvSpPr>
          <p:nvPr>
            <p:ph type="body" idx="1"/>
          </p:nvPr>
        </p:nvSpPr>
        <p:spPr>
          <a:xfrm>
            <a:off x="938884" y="4489703"/>
            <a:ext cx="5156979" cy="4252165"/>
          </a:xfrm>
          <a:noFill/>
          <a:ln/>
        </p:spPr>
        <p:txBody>
          <a:bodyPr/>
          <a:lstStyle/>
          <a:p>
            <a:pPr marL="171450" indent="-171450" eaLnBrk="1" hangingPunct="1">
              <a:buFont typeface="Arial" panose="020B0604020202020204" pitchFamily="34" charset="0"/>
              <a:buChar char="•"/>
            </a:pPr>
            <a:r>
              <a:rPr lang="en-US" dirty="0">
                <a:latin typeface="Arial" pitchFamily="34" charset="0"/>
              </a:rPr>
              <a:t>This chart indexes day types on a day matched basis using the same number of days for each day. 2022 YTD is made up of January, February, March, April, and 1-30 June compared to the same period in 2019</a:t>
            </a:r>
          </a:p>
          <a:p>
            <a:pPr marL="171450" indent="-171450" eaLnBrk="1" hangingPunct="1">
              <a:buFont typeface="Arial" panose="020B0604020202020204" pitchFamily="34" charset="0"/>
              <a:buChar char="•"/>
            </a:pPr>
            <a:r>
              <a:rPr lang="en-US" dirty="0">
                <a:latin typeface="Arial" pitchFamily="34" charset="0"/>
              </a:rPr>
              <a:t>Business travel is returning. During the week ending 21 May 2022, weekday occupancy increased to 67.2%, which was the highest of the year and the fourth highest since the start of the pandemic. Among the Top 25 Markets, weekday occupancy (72.2%) was the best since March 2020, with group demand the second highest.</a:t>
            </a:r>
          </a:p>
          <a:p>
            <a:pPr marL="171450" indent="-171450" eaLnBrk="1" hangingPunct="1">
              <a:buFont typeface="Arial" panose="020B0604020202020204" pitchFamily="34" charset="0"/>
              <a:buChar char="•"/>
            </a:pPr>
            <a:r>
              <a:rPr lang="en-US" dirty="0">
                <a:latin typeface="Arial" pitchFamily="34" charset="0"/>
              </a:rPr>
              <a:t>Weekends continue to point to the continued strength of leisure travel. </a:t>
            </a:r>
          </a:p>
        </p:txBody>
      </p:sp>
    </p:spTree>
    <p:extLst>
      <p:ext uri="{BB962C8B-B14F-4D97-AF65-F5344CB8AC3E}">
        <p14:creationId xmlns:p14="http://schemas.microsoft.com/office/powerpoint/2010/main" val="1777116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Luxury &amp; Upper Upscale Class data (Monthly data from March 2020-April 2022; Daily data (1-30 June) for 2019 and 2022</a:t>
            </a:r>
          </a:p>
          <a:p>
            <a:pPr marL="171450" indent="-171450">
              <a:buFont typeface="Arial" panose="020B0604020202020204" pitchFamily="34" charset="0"/>
              <a:buChar char="•"/>
            </a:pPr>
            <a:r>
              <a:rPr lang="en-US" dirty="0"/>
              <a:t>Prior to Omicron, group demand had been rising in every month since June. The good news is that it is advancing again. </a:t>
            </a:r>
          </a:p>
          <a:p>
            <a:pPr marL="171450" indent="-171450">
              <a:buFont typeface="Arial" panose="020B0604020202020204" pitchFamily="34" charset="0"/>
              <a:buChar char="•"/>
            </a:pPr>
            <a:r>
              <a:rPr lang="en-US" dirty="0">
                <a:effectLst/>
                <a:latin typeface="Calibri" panose="020F0502020204030204" pitchFamily="34" charset="0"/>
                <a:ea typeface="Calibri" panose="020F0502020204030204" pitchFamily="34" charset="0"/>
                <a:cs typeface="Times New Roman" panose="02020603050405020304" pitchFamily="18" charset="0"/>
              </a:rPr>
              <a:t>In week ending 21 May 2022, group demand achieved its second highest level of the pandemic era. This was the fourth week of elevated group demand with the weekly total at 97% of the comparable week of 2019. Weekday group demand was 86% of 2019’s level with weekend group demand surpassing 2019 by 22%. </a:t>
            </a:r>
          </a:p>
          <a:p>
            <a:pPr marL="171450" indent="-171450">
              <a:buFont typeface="Arial" panose="020B0604020202020204" pitchFamily="34" charset="0"/>
              <a:buChar char="•"/>
            </a:pPr>
            <a:r>
              <a:rPr lang="en-US" dirty="0">
                <a:effectLst/>
                <a:latin typeface="Calibri" panose="020F0502020204030204" pitchFamily="34" charset="0"/>
                <a:ea typeface="Calibri" panose="020F0502020204030204" pitchFamily="34" charset="0"/>
                <a:cs typeface="Times New Roman" panose="02020603050405020304" pitchFamily="18" charset="0"/>
              </a:rPr>
              <a:t>Group RevPAR also surpassed 2019 for the second time, however this week’s attainment (week </a:t>
            </a:r>
            <a:r>
              <a:rPr lang="en-US" dirty="0">
                <a:latin typeface="Calibri" panose="020F0502020204030204" pitchFamily="34" charset="0"/>
                <a:ea typeface="Calibri" panose="020F0502020204030204" pitchFamily="34" charset="0"/>
                <a:cs typeface="Times New Roman" panose="02020603050405020304" pitchFamily="18" charset="0"/>
              </a:rPr>
              <a:t>ending 28 May) </a:t>
            </a:r>
            <a:r>
              <a:rPr lang="en-US" dirty="0">
                <a:effectLst/>
                <a:latin typeface="Calibri" panose="020F0502020204030204" pitchFamily="34" charset="0"/>
                <a:ea typeface="Calibri" panose="020F0502020204030204" pitchFamily="34" charset="0"/>
                <a:cs typeface="Times New Roman" panose="02020603050405020304" pitchFamily="18" charset="0"/>
              </a:rPr>
              <a:t>was more significant given its high volume. When group demand previously surpassed 2019, the volume was low and based on holiday groups.</a:t>
            </a:r>
            <a:endParaRPr lang="en-US" sz="1000" dirty="0"/>
          </a:p>
        </p:txBody>
      </p:sp>
      <p:sp>
        <p:nvSpPr>
          <p:cNvPr id="4" name="Slide Number Placeholder 3"/>
          <p:cNvSpPr>
            <a:spLocks noGrp="1"/>
          </p:cNvSpPr>
          <p:nvPr>
            <p:ph type="sldNum" sz="quarter" idx="5"/>
          </p:nvPr>
        </p:nvSpPr>
        <p:spPr/>
        <p:txBody>
          <a:bodyPr/>
          <a:lstStyle/>
          <a:p>
            <a:fld id="{15E68D5F-1C11-4C1E-9901-5A52AE935E20}" type="slidenum">
              <a:rPr lang="en-GB" smtClean="0"/>
              <a:t>5</a:t>
            </a:fld>
            <a:endParaRPr lang="en-GB"/>
          </a:p>
        </p:txBody>
      </p:sp>
    </p:spTree>
    <p:extLst>
      <p:ext uri="{BB962C8B-B14F-4D97-AF65-F5344CB8AC3E}">
        <p14:creationId xmlns:p14="http://schemas.microsoft.com/office/powerpoint/2010/main" val="20537196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638141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Rot="1" noChangeAspect="1" noChangeArrowheads="1" noTextEdit="1"/>
          </p:cNvSpPr>
          <p:nvPr>
            <p:ph type="sldImg"/>
          </p:nvPr>
        </p:nvSpPr>
        <p:spPr>
          <a:xfrm>
            <a:off x="368300" y="708025"/>
            <a:ext cx="6299200" cy="3544888"/>
          </a:xfrm>
          <a:ln/>
        </p:spPr>
      </p:sp>
      <p:sp>
        <p:nvSpPr>
          <p:cNvPr id="128003" name="Rectangle 3"/>
          <p:cNvSpPr>
            <a:spLocks noGrp="1" noChangeArrowheads="1"/>
          </p:cNvSpPr>
          <p:nvPr>
            <p:ph type="body" idx="1"/>
          </p:nvPr>
        </p:nvSpPr>
        <p:spPr>
          <a:xfrm>
            <a:off x="938884" y="4489703"/>
            <a:ext cx="5156979" cy="4252165"/>
          </a:xfrm>
          <a:noFill/>
          <a:ln/>
        </p:spPr>
        <p:txBody>
          <a:bodyPr/>
          <a:lstStyle/>
          <a:p>
            <a:pPr marL="171450" indent="-171450" eaLnBrk="1" hangingPunct="1">
              <a:buFont typeface="Arial" panose="020B0604020202020204" pitchFamily="34" charset="0"/>
              <a:buChar char="•"/>
            </a:pPr>
            <a:endParaRPr lang="en-US" dirty="0">
              <a:latin typeface="Arial" pitchFamily="34" charset="0"/>
            </a:endParaRPr>
          </a:p>
        </p:txBody>
      </p:sp>
    </p:spTree>
    <p:extLst>
      <p:ext uri="{BB962C8B-B14F-4D97-AF65-F5344CB8AC3E}">
        <p14:creationId xmlns:p14="http://schemas.microsoft.com/office/powerpoint/2010/main" val="17771168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Rot="1" noChangeAspect="1" noChangeArrowheads="1" noTextEdit="1"/>
          </p:cNvSpPr>
          <p:nvPr>
            <p:ph type="sldImg"/>
          </p:nvPr>
        </p:nvSpPr>
        <p:spPr>
          <a:xfrm>
            <a:off x="368300" y="708025"/>
            <a:ext cx="6299200" cy="3544888"/>
          </a:xfrm>
          <a:ln/>
        </p:spPr>
      </p:sp>
      <p:sp>
        <p:nvSpPr>
          <p:cNvPr id="128003" name="Rectangle 3"/>
          <p:cNvSpPr>
            <a:spLocks noGrp="1" noChangeArrowheads="1"/>
          </p:cNvSpPr>
          <p:nvPr>
            <p:ph type="body" idx="1"/>
          </p:nvPr>
        </p:nvSpPr>
        <p:spPr>
          <a:xfrm>
            <a:off x="938884" y="4489703"/>
            <a:ext cx="5156979" cy="4252165"/>
          </a:xfrm>
          <a:noFill/>
          <a:ln/>
        </p:spPr>
        <p:txBody>
          <a:bodyPr/>
          <a:lstStyle/>
          <a:p>
            <a:pPr eaLnBrk="1" hangingPunct="1"/>
            <a:endParaRPr lang="en-US" dirty="0">
              <a:latin typeface="Arial" pitchFamily="34" charset="0"/>
            </a:endParaRPr>
          </a:p>
        </p:txBody>
      </p:sp>
    </p:spTree>
    <p:extLst>
      <p:ext uri="{BB962C8B-B14F-4D97-AF65-F5344CB8AC3E}">
        <p14:creationId xmlns:p14="http://schemas.microsoft.com/office/powerpoint/2010/main" val="10699317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Rot="1" noChangeAspect="1" noChangeArrowheads="1" noTextEdit="1"/>
          </p:cNvSpPr>
          <p:nvPr>
            <p:ph type="sldImg"/>
          </p:nvPr>
        </p:nvSpPr>
        <p:spPr>
          <a:xfrm>
            <a:off x="368300" y="708025"/>
            <a:ext cx="6299200" cy="3544888"/>
          </a:xfrm>
          <a:ln/>
        </p:spPr>
      </p:sp>
      <p:sp>
        <p:nvSpPr>
          <p:cNvPr id="128003" name="Rectangle 3"/>
          <p:cNvSpPr>
            <a:spLocks noGrp="1" noChangeArrowheads="1"/>
          </p:cNvSpPr>
          <p:nvPr>
            <p:ph type="body" idx="1"/>
          </p:nvPr>
        </p:nvSpPr>
        <p:spPr>
          <a:xfrm>
            <a:off x="938884" y="4489703"/>
            <a:ext cx="5156979" cy="4252165"/>
          </a:xfrm>
          <a:noFill/>
          <a:ln/>
        </p:spPr>
        <p:txBody>
          <a:bodyPr/>
          <a:lstStyle/>
          <a:p>
            <a:pPr marL="171450" indent="-171450" eaLnBrk="1" hangingPunct="1">
              <a:buFont typeface="Arial" panose="020B0604020202020204" pitchFamily="34" charset="0"/>
              <a:buChar char="•"/>
            </a:pPr>
            <a:endParaRPr lang="en-US" dirty="0">
              <a:latin typeface="Arial" pitchFamily="34" charset="0"/>
            </a:endParaRPr>
          </a:p>
        </p:txBody>
      </p:sp>
    </p:spTree>
    <p:extLst>
      <p:ext uri="{BB962C8B-B14F-4D97-AF65-F5344CB8AC3E}">
        <p14:creationId xmlns:p14="http://schemas.microsoft.com/office/powerpoint/2010/main" val="3283252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Rot="1" noChangeAspect="1" noChangeArrowheads="1" noTextEdit="1"/>
          </p:cNvSpPr>
          <p:nvPr>
            <p:ph type="sldImg"/>
          </p:nvPr>
        </p:nvSpPr>
        <p:spPr>
          <a:xfrm>
            <a:off x="368300" y="708025"/>
            <a:ext cx="6299200" cy="3544888"/>
          </a:xfrm>
          <a:ln/>
        </p:spPr>
      </p:sp>
      <p:sp>
        <p:nvSpPr>
          <p:cNvPr id="128003" name="Rectangle 3"/>
          <p:cNvSpPr>
            <a:spLocks noGrp="1" noChangeArrowheads="1"/>
          </p:cNvSpPr>
          <p:nvPr>
            <p:ph type="body" idx="1"/>
          </p:nvPr>
        </p:nvSpPr>
        <p:spPr>
          <a:xfrm>
            <a:off x="938884" y="4489703"/>
            <a:ext cx="5156979" cy="4252165"/>
          </a:xfrm>
          <a:noFill/>
          <a:ln/>
        </p:spPr>
        <p:txBody>
          <a:bodyPr/>
          <a:lstStyle/>
          <a:p>
            <a:pPr eaLnBrk="1" hangingPunct="1"/>
            <a:endParaRPr lang="en-US" dirty="0">
              <a:latin typeface="Arial" pitchFamily="34" charset="0"/>
            </a:endParaRPr>
          </a:p>
        </p:txBody>
      </p:sp>
    </p:spTree>
    <p:extLst>
      <p:ext uri="{BB962C8B-B14F-4D97-AF65-F5344CB8AC3E}">
        <p14:creationId xmlns:p14="http://schemas.microsoft.com/office/powerpoint/2010/main" val="34783385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6.emf"/><Relationship Id="rId5" Type="http://schemas.openxmlformats.org/officeDocument/2006/relationships/image" Target="../media/image5.png"/><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1.emf"/><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6.emf"/><Relationship Id="rId5" Type="http://schemas.openxmlformats.org/officeDocument/2006/relationships/image" Target="../media/image5.png"/><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7957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8338495-07FA-8445-8F22-78753F0C8B8F}"/>
              </a:ext>
            </a:extLst>
          </p:cNvPr>
          <p:cNvSpPr/>
          <p:nvPr userDrawn="1"/>
        </p:nvSpPr>
        <p:spPr>
          <a:xfrm>
            <a:off x="0" y="1"/>
            <a:ext cx="12191999" cy="31015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940B2064-3104-2349-A2B2-373BE156001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89549" y="299850"/>
            <a:ext cx="956721" cy="956721"/>
          </a:xfrm>
          <a:prstGeom prst="rect">
            <a:avLst/>
          </a:prstGeom>
        </p:spPr>
      </p:pic>
      <p:sp>
        <p:nvSpPr>
          <p:cNvPr id="2" name="Title 1">
            <a:extLst>
              <a:ext uri="{FF2B5EF4-FFF2-40B4-BE49-F238E27FC236}">
                <a16:creationId xmlns:a16="http://schemas.microsoft.com/office/drawing/2014/main" id="{1CF3AB8E-FC5C-7742-8164-D631A3037743}"/>
              </a:ext>
            </a:extLst>
          </p:cNvPr>
          <p:cNvSpPr>
            <a:spLocks noGrp="1"/>
          </p:cNvSpPr>
          <p:nvPr>
            <p:ph type="title"/>
          </p:nvPr>
        </p:nvSpPr>
        <p:spPr>
          <a:xfrm>
            <a:off x="552849" y="434573"/>
            <a:ext cx="9783851" cy="345972"/>
          </a:xfrm>
        </p:spPr>
        <p:txBody>
          <a:bodyPr>
            <a:normAutofit/>
          </a:bodyPr>
          <a:lstStyle>
            <a:lvl1pPr>
              <a:defRPr sz="2800">
                <a:solidFill>
                  <a:schemeClr val="bg1"/>
                </a:solidFill>
              </a:defRPr>
            </a:lvl1pPr>
          </a:lstStyle>
          <a:p>
            <a:r>
              <a:rPr lang="en-US" dirty="0"/>
              <a:t>Click to edit Master title style</a:t>
            </a:r>
          </a:p>
        </p:txBody>
      </p:sp>
      <p:sp>
        <p:nvSpPr>
          <p:cNvPr id="4" name="Text Placeholder 7">
            <a:extLst>
              <a:ext uri="{FF2B5EF4-FFF2-40B4-BE49-F238E27FC236}">
                <a16:creationId xmlns:a16="http://schemas.microsoft.com/office/drawing/2014/main" id="{C2388CD7-7FC3-9641-AE41-B5FE4CCD73A6}"/>
              </a:ext>
            </a:extLst>
          </p:cNvPr>
          <p:cNvSpPr>
            <a:spLocks noGrp="1"/>
          </p:cNvSpPr>
          <p:nvPr>
            <p:ph type="body" sz="quarter" idx="13" hasCustomPrompt="1"/>
          </p:nvPr>
        </p:nvSpPr>
        <p:spPr>
          <a:xfrm>
            <a:off x="552849" y="784453"/>
            <a:ext cx="9783851" cy="303340"/>
          </a:xfrm>
          <a:prstGeom prst="rect">
            <a:avLst/>
          </a:prstGeom>
        </p:spPr>
        <p:txBody>
          <a:bodyPr>
            <a:noAutofit/>
          </a:bodyPr>
          <a:lstStyle>
            <a:lvl1pPr marL="0" indent="0" algn="l">
              <a:lnSpc>
                <a:spcPts val="2667"/>
              </a:lnSpc>
              <a:buNone/>
              <a:defRPr sz="2000">
                <a:solidFill>
                  <a:schemeClr val="bg1"/>
                </a:solidFill>
                <a:latin typeface="+mn-lt"/>
                <a:cs typeface="Arial" pitchFamily="34" charset="0"/>
              </a:defRPr>
            </a:lvl1pPr>
          </a:lstStyle>
          <a:p>
            <a:pPr lvl="0"/>
            <a:r>
              <a:rPr lang="en-GB" dirty="0"/>
              <a:t>Strapline</a:t>
            </a:r>
          </a:p>
        </p:txBody>
      </p:sp>
      <p:sp>
        <p:nvSpPr>
          <p:cNvPr id="13" name="Picture Placeholder 3">
            <a:extLst>
              <a:ext uri="{FF2B5EF4-FFF2-40B4-BE49-F238E27FC236}">
                <a16:creationId xmlns:a16="http://schemas.microsoft.com/office/drawing/2014/main" id="{9088E115-681D-DB44-81FB-7ADF6FD915EC}"/>
              </a:ext>
            </a:extLst>
          </p:cNvPr>
          <p:cNvSpPr>
            <a:spLocks noGrp="1"/>
          </p:cNvSpPr>
          <p:nvPr>
            <p:ph type="pic" sz="quarter" idx="15" hasCustomPrompt="1"/>
          </p:nvPr>
        </p:nvSpPr>
        <p:spPr>
          <a:xfrm>
            <a:off x="552849" y="1927581"/>
            <a:ext cx="2146546" cy="2145987"/>
          </a:xfrm>
          <a:prstGeom prst="ellipse">
            <a:avLst/>
          </a:prstGeom>
          <a:solidFill>
            <a:schemeClr val="bg1">
              <a:lumMod val="95000"/>
            </a:schemeClr>
          </a:solidFill>
          <a:ln>
            <a:noFill/>
          </a:ln>
        </p:spPr>
        <p:txBody>
          <a:bodyPr wrap="square" anchor="ctr">
            <a:noAutofit/>
          </a:bodyPr>
          <a:lstStyle>
            <a:lvl1pPr marL="0" indent="0" algn="ctr">
              <a:buNone/>
              <a:defRPr sz="1001"/>
            </a:lvl1pPr>
          </a:lstStyle>
          <a:p>
            <a:r>
              <a:rPr lang="en-US" dirty="0"/>
              <a:t>REPLACE IMAGE HERE</a:t>
            </a:r>
          </a:p>
        </p:txBody>
      </p:sp>
      <p:sp>
        <p:nvSpPr>
          <p:cNvPr id="14" name="Picture Placeholder 3">
            <a:extLst>
              <a:ext uri="{FF2B5EF4-FFF2-40B4-BE49-F238E27FC236}">
                <a16:creationId xmlns:a16="http://schemas.microsoft.com/office/drawing/2014/main" id="{2673410D-FFDF-584A-B354-5C97673A926F}"/>
              </a:ext>
            </a:extLst>
          </p:cNvPr>
          <p:cNvSpPr>
            <a:spLocks noGrp="1"/>
          </p:cNvSpPr>
          <p:nvPr>
            <p:ph type="pic" sz="quarter" idx="16" hasCustomPrompt="1"/>
          </p:nvPr>
        </p:nvSpPr>
        <p:spPr>
          <a:xfrm>
            <a:off x="3462890" y="1927581"/>
            <a:ext cx="2146546" cy="2145987"/>
          </a:xfrm>
          <a:prstGeom prst="ellipse">
            <a:avLst/>
          </a:prstGeom>
          <a:solidFill>
            <a:schemeClr val="bg1">
              <a:lumMod val="95000"/>
            </a:schemeClr>
          </a:solidFill>
          <a:ln>
            <a:noFill/>
          </a:ln>
        </p:spPr>
        <p:txBody>
          <a:bodyPr wrap="square" anchor="ctr">
            <a:noAutofit/>
          </a:bodyPr>
          <a:lstStyle>
            <a:lvl1pPr marL="0" indent="0" algn="ctr">
              <a:buNone/>
              <a:defRPr sz="1001"/>
            </a:lvl1pPr>
          </a:lstStyle>
          <a:p>
            <a:r>
              <a:rPr lang="en-US" dirty="0"/>
              <a:t>REPLACE IMAGE HERE</a:t>
            </a:r>
          </a:p>
        </p:txBody>
      </p:sp>
      <p:sp>
        <p:nvSpPr>
          <p:cNvPr id="15" name="Picture Placeholder 3">
            <a:extLst>
              <a:ext uri="{FF2B5EF4-FFF2-40B4-BE49-F238E27FC236}">
                <a16:creationId xmlns:a16="http://schemas.microsoft.com/office/drawing/2014/main" id="{F4EC6675-6AF9-8240-BA33-D1EE44BBF878}"/>
              </a:ext>
            </a:extLst>
          </p:cNvPr>
          <p:cNvSpPr>
            <a:spLocks noGrp="1"/>
          </p:cNvSpPr>
          <p:nvPr>
            <p:ph type="pic" sz="quarter" idx="17" hasCustomPrompt="1"/>
          </p:nvPr>
        </p:nvSpPr>
        <p:spPr>
          <a:xfrm>
            <a:off x="6372931" y="1927581"/>
            <a:ext cx="2146546" cy="2145987"/>
          </a:xfrm>
          <a:prstGeom prst="ellipse">
            <a:avLst/>
          </a:prstGeom>
          <a:solidFill>
            <a:schemeClr val="bg1">
              <a:lumMod val="95000"/>
            </a:schemeClr>
          </a:solidFill>
          <a:ln>
            <a:noFill/>
          </a:ln>
        </p:spPr>
        <p:txBody>
          <a:bodyPr wrap="square" anchor="ctr">
            <a:noAutofit/>
          </a:bodyPr>
          <a:lstStyle>
            <a:lvl1pPr marL="0" indent="0" algn="ctr">
              <a:buNone/>
              <a:defRPr sz="1001"/>
            </a:lvl1pPr>
          </a:lstStyle>
          <a:p>
            <a:r>
              <a:rPr lang="en-US" dirty="0"/>
              <a:t>REPLACE IMAGE HERE</a:t>
            </a:r>
          </a:p>
        </p:txBody>
      </p:sp>
      <p:sp>
        <p:nvSpPr>
          <p:cNvPr id="16" name="Picture Placeholder 3">
            <a:extLst>
              <a:ext uri="{FF2B5EF4-FFF2-40B4-BE49-F238E27FC236}">
                <a16:creationId xmlns:a16="http://schemas.microsoft.com/office/drawing/2014/main" id="{434627CB-543D-0741-BD6E-145C01FFAE2B}"/>
              </a:ext>
            </a:extLst>
          </p:cNvPr>
          <p:cNvSpPr>
            <a:spLocks noGrp="1"/>
          </p:cNvSpPr>
          <p:nvPr>
            <p:ph type="pic" sz="quarter" idx="18" hasCustomPrompt="1"/>
          </p:nvPr>
        </p:nvSpPr>
        <p:spPr>
          <a:xfrm>
            <a:off x="9282465" y="1927581"/>
            <a:ext cx="2146546" cy="2145987"/>
          </a:xfrm>
          <a:prstGeom prst="ellipse">
            <a:avLst/>
          </a:prstGeom>
          <a:solidFill>
            <a:schemeClr val="bg1">
              <a:lumMod val="95000"/>
            </a:schemeClr>
          </a:solidFill>
          <a:ln>
            <a:noFill/>
          </a:ln>
        </p:spPr>
        <p:txBody>
          <a:bodyPr wrap="square" anchor="ctr">
            <a:noAutofit/>
          </a:bodyPr>
          <a:lstStyle>
            <a:lvl1pPr marL="0" indent="0" algn="ctr">
              <a:buNone/>
              <a:defRPr sz="1001"/>
            </a:lvl1pPr>
          </a:lstStyle>
          <a:p>
            <a:r>
              <a:rPr lang="en-US" dirty="0"/>
              <a:t>REPLACE IMAGE HERE</a:t>
            </a:r>
          </a:p>
        </p:txBody>
      </p:sp>
      <p:sp>
        <p:nvSpPr>
          <p:cNvPr id="24" name="Text Placeholder 23">
            <a:extLst>
              <a:ext uri="{FF2B5EF4-FFF2-40B4-BE49-F238E27FC236}">
                <a16:creationId xmlns:a16="http://schemas.microsoft.com/office/drawing/2014/main" id="{64DD199E-9816-AF4A-AD19-D44663E90C4E}"/>
              </a:ext>
            </a:extLst>
          </p:cNvPr>
          <p:cNvSpPr>
            <a:spLocks noGrp="1"/>
          </p:cNvSpPr>
          <p:nvPr>
            <p:ph type="body" sz="quarter" idx="19" hasCustomPrompt="1"/>
          </p:nvPr>
        </p:nvSpPr>
        <p:spPr>
          <a:xfrm>
            <a:off x="552850" y="4272587"/>
            <a:ext cx="2001048" cy="696955"/>
          </a:xfrm>
          <a:prstGeom prst="rect">
            <a:avLst/>
          </a:prstGeom>
        </p:spPr>
        <p:txBody>
          <a:bodyPr/>
          <a:lstStyle>
            <a:lvl1pPr marL="0" indent="0">
              <a:buNone/>
              <a:defRPr sz="5400" b="1">
                <a:solidFill>
                  <a:schemeClr val="tx2"/>
                </a:solidFill>
              </a:defRPr>
            </a:lvl1pPr>
          </a:lstStyle>
          <a:p>
            <a:pPr lvl="0"/>
            <a:r>
              <a:rPr lang="en-US" dirty="0"/>
              <a:t>####</a:t>
            </a:r>
          </a:p>
        </p:txBody>
      </p:sp>
      <p:sp>
        <p:nvSpPr>
          <p:cNvPr id="27" name="Text Placeholder 26">
            <a:extLst>
              <a:ext uri="{FF2B5EF4-FFF2-40B4-BE49-F238E27FC236}">
                <a16:creationId xmlns:a16="http://schemas.microsoft.com/office/drawing/2014/main" id="{8C5309F6-4D23-A645-A80D-FAB73D80D8CB}"/>
              </a:ext>
            </a:extLst>
          </p:cNvPr>
          <p:cNvSpPr>
            <a:spLocks noGrp="1"/>
          </p:cNvSpPr>
          <p:nvPr>
            <p:ph type="body" sz="quarter" idx="20" hasCustomPrompt="1"/>
          </p:nvPr>
        </p:nvSpPr>
        <p:spPr>
          <a:xfrm>
            <a:off x="552849" y="4985837"/>
            <a:ext cx="2001837" cy="601587"/>
          </a:xfrm>
          <a:prstGeom prst="rect">
            <a:avLst/>
          </a:prstGeom>
        </p:spPr>
        <p:txBody>
          <a:bodyPr/>
          <a:lstStyle>
            <a:lvl1pPr marL="0" indent="0">
              <a:lnSpc>
                <a:spcPct val="100000"/>
              </a:lnSpc>
              <a:spcBef>
                <a:spcPts val="0"/>
              </a:spcBef>
              <a:buNone/>
              <a:defRPr sz="1800">
                <a:solidFill>
                  <a:schemeClr val="tx1"/>
                </a:solidFill>
              </a:defRPr>
            </a:lvl1pPr>
          </a:lstStyle>
          <a:p>
            <a:pPr lvl="0"/>
            <a:r>
              <a:rPr lang="en-US" dirty="0"/>
              <a:t>Text</a:t>
            </a:r>
          </a:p>
          <a:p>
            <a:pPr lvl="0"/>
            <a:r>
              <a:rPr lang="en-US" dirty="0"/>
              <a:t>Line 2</a:t>
            </a:r>
          </a:p>
        </p:txBody>
      </p:sp>
      <p:sp>
        <p:nvSpPr>
          <p:cNvPr id="31" name="Text Placeholder 23">
            <a:extLst>
              <a:ext uri="{FF2B5EF4-FFF2-40B4-BE49-F238E27FC236}">
                <a16:creationId xmlns:a16="http://schemas.microsoft.com/office/drawing/2014/main" id="{CD5CD75D-40B0-874C-AB96-1BD5EB52F023}"/>
              </a:ext>
            </a:extLst>
          </p:cNvPr>
          <p:cNvSpPr>
            <a:spLocks noGrp="1"/>
          </p:cNvSpPr>
          <p:nvPr>
            <p:ph type="body" sz="quarter" idx="21" hasCustomPrompt="1"/>
          </p:nvPr>
        </p:nvSpPr>
        <p:spPr>
          <a:xfrm>
            <a:off x="3462890" y="4272587"/>
            <a:ext cx="2001048" cy="696955"/>
          </a:xfrm>
          <a:prstGeom prst="rect">
            <a:avLst/>
          </a:prstGeom>
        </p:spPr>
        <p:txBody>
          <a:bodyPr/>
          <a:lstStyle>
            <a:lvl1pPr marL="0" indent="0">
              <a:buNone/>
              <a:defRPr sz="5400" b="1">
                <a:solidFill>
                  <a:schemeClr val="tx2"/>
                </a:solidFill>
              </a:defRPr>
            </a:lvl1pPr>
          </a:lstStyle>
          <a:p>
            <a:pPr lvl="0"/>
            <a:r>
              <a:rPr lang="en-US" dirty="0"/>
              <a:t>####</a:t>
            </a:r>
          </a:p>
        </p:txBody>
      </p:sp>
      <p:sp>
        <p:nvSpPr>
          <p:cNvPr id="32" name="Text Placeholder 26">
            <a:extLst>
              <a:ext uri="{FF2B5EF4-FFF2-40B4-BE49-F238E27FC236}">
                <a16:creationId xmlns:a16="http://schemas.microsoft.com/office/drawing/2014/main" id="{A0FF9BC7-BB1E-434E-A87A-57A7C60F1CD5}"/>
              </a:ext>
            </a:extLst>
          </p:cNvPr>
          <p:cNvSpPr>
            <a:spLocks noGrp="1"/>
          </p:cNvSpPr>
          <p:nvPr>
            <p:ph type="body" sz="quarter" idx="22" hasCustomPrompt="1"/>
          </p:nvPr>
        </p:nvSpPr>
        <p:spPr>
          <a:xfrm>
            <a:off x="3462889" y="4985837"/>
            <a:ext cx="2001837" cy="601587"/>
          </a:xfrm>
          <a:prstGeom prst="rect">
            <a:avLst/>
          </a:prstGeom>
        </p:spPr>
        <p:txBody>
          <a:bodyPr/>
          <a:lstStyle>
            <a:lvl1pPr marL="0" indent="0">
              <a:lnSpc>
                <a:spcPct val="100000"/>
              </a:lnSpc>
              <a:spcBef>
                <a:spcPts val="0"/>
              </a:spcBef>
              <a:buNone/>
              <a:defRPr sz="1800">
                <a:solidFill>
                  <a:schemeClr val="tx1"/>
                </a:solidFill>
              </a:defRPr>
            </a:lvl1pPr>
          </a:lstStyle>
          <a:p>
            <a:pPr lvl="0"/>
            <a:r>
              <a:rPr lang="en-US" dirty="0"/>
              <a:t>Text</a:t>
            </a:r>
          </a:p>
          <a:p>
            <a:pPr lvl="0"/>
            <a:r>
              <a:rPr lang="en-US" dirty="0"/>
              <a:t>Line 2</a:t>
            </a:r>
          </a:p>
        </p:txBody>
      </p:sp>
      <p:sp>
        <p:nvSpPr>
          <p:cNvPr id="34" name="Text Placeholder 23">
            <a:extLst>
              <a:ext uri="{FF2B5EF4-FFF2-40B4-BE49-F238E27FC236}">
                <a16:creationId xmlns:a16="http://schemas.microsoft.com/office/drawing/2014/main" id="{15AA2222-AFAF-3A45-AABA-EFD704259111}"/>
              </a:ext>
            </a:extLst>
          </p:cNvPr>
          <p:cNvSpPr>
            <a:spLocks noGrp="1"/>
          </p:cNvSpPr>
          <p:nvPr>
            <p:ph type="body" sz="quarter" idx="23" hasCustomPrompt="1"/>
          </p:nvPr>
        </p:nvSpPr>
        <p:spPr>
          <a:xfrm>
            <a:off x="6372930" y="4272587"/>
            <a:ext cx="2001048" cy="696955"/>
          </a:xfrm>
          <a:prstGeom prst="rect">
            <a:avLst/>
          </a:prstGeom>
        </p:spPr>
        <p:txBody>
          <a:bodyPr/>
          <a:lstStyle>
            <a:lvl1pPr marL="0" indent="0">
              <a:buNone/>
              <a:defRPr sz="5400" b="1">
                <a:solidFill>
                  <a:schemeClr val="tx2"/>
                </a:solidFill>
              </a:defRPr>
            </a:lvl1pPr>
          </a:lstStyle>
          <a:p>
            <a:pPr lvl="0"/>
            <a:r>
              <a:rPr lang="en-US" dirty="0"/>
              <a:t>####</a:t>
            </a:r>
          </a:p>
        </p:txBody>
      </p:sp>
      <p:sp>
        <p:nvSpPr>
          <p:cNvPr id="35" name="Text Placeholder 26">
            <a:extLst>
              <a:ext uri="{FF2B5EF4-FFF2-40B4-BE49-F238E27FC236}">
                <a16:creationId xmlns:a16="http://schemas.microsoft.com/office/drawing/2014/main" id="{965C5E4F-52E8-0045-8BB2-32D52E2D8B41}"/>
              </a:ext>
            </a:extLst>
          </p:cNvPr>
          <p:cNvSpPr>
            <a:spLocks noGrp="1"/>
          </p:cNvSpPr>
          <p:nvPr>
            <p:ph type="body" sz="quarter" idx="24" hasCustomPrompt="1"/>
          </p:nvPr>
        </p:nvSpPr>
        <p:spPr>
          <a:xfrm>
            <a:off x="6372929" y="4985837"/>
            <a:ext cx="2001837" cy="601587"/>
          </a:xfrm>
          <a:prstGeom prst="rect">
            <a:avLst/>
          </a:prstGeom>
        </p:spPr>
        <p:txBody>
          <a:bodyPr/>
          <a:lstStyle>
            <a:lvl1pPr marL="0" indent="0">
              <a:lnSpc>
                <a:spcPct val="100000"/>
              </a:lnSpc>
              <a:spcBef>
                <a:spcPts val="0"/>
              </a:spcBef>
              <a:buNone/>
              <a:defRPr sz="1800">
                <a:solidFill>
                  <a:schemeClr val="tx1"/>
                </a:solidFill>
              </a:defRPr>
            </a:lvl1pPr>
          </a:lstStyle>
          <a:p>
            <a:pPr lvl="0"/>
            <a:r>
              <a:rPr lang="en-US" dirty="0"/>
              <a:t>Text</a:t>
            </a:r>
          </a:p>
          <a:p>
            <a:pPr lvl="0"/>
            <a:r>
              <a:rPr lang="en-US" dirty="0"/>
              <a:t>Line 2</a:t>
            </a:r>
          </a:p>
        </p:txBody>
      </p:sp>
      <p:sp>
        <p:nvSpPr>
          <p:cNvPr id="36" name="Text Placeholder 23">
            <a:extLst>
              <a:ext uri="{FF2B5EF4-FFF2-40B4-BE49-F238E27FC236}">
                <a16:creationId xmlns:a16="http://schemas.microsoft.com/office/drawing/2014/main" id="{02B9747B-2176-D74F-948C-C2887675DCBE}"/>
              </a:ext>
            </a:extLst>
          </p:cNvPr>
          <p:cNvSpPr>
            <a:spLocks noGrp="1"/>
          </p:cNvSpPr>
          <p:nvPr>
            <p:ph type="body" sz="quarter" idx="25" hasCustomPrompt="1"/>
          </p:nvPr>
        </p:nvSpPr>
        <p:spPr>
          <a:xfrm>
            <a:off x="9282465" y="4272587"/>
            <a:ext cx="2001048" cy="696955"/>
          </a:xfrm>
          <a:prstGeom prst="rect">
            <a:avLst/>
          </a:prstGeom>
        </p:spPr>
        <p:txBody>
          <a:bodyPr/>
          <a:lstStyle>
            <a:lvl1pPr marL="0" indent="0">
              <a:buNone/>
              <a:defRPr sz="5400" b="1">
                <a:solidFill>
                  <a:schemeClr val="tx2"/>
                </a:solidFill>
              </a:defRPr>
            </a:lvl1pPr>
          </a:lstStyle>
          <a:p>
            <a:pPr lvl="0"/>
            <a:r>
              <a:rPr lang="en-US" dirty="0"/>
              <a:t>####</a:t>
            </a:r>
          </a:p>
        </p:txBody>
      </p:sp>
      <p:sp>
        <p:nvSpPr>
          <p:cNvPr id="37" name="Text Placeholder 26">
            <a:extLst>
              <a:ext uri="{FF2B5EF4-FFF2-40B4-BE49-F238E27FC236}">
                <a16:creationId xmlns:a16="http://schemas.microsoft.com/office/drawing/2014/main" id="{D7433BF4-D729-FC40-A520-B2DB3828ED8A}"/>
              </a:ext>
            </a:extLst>
          </p:cNvPr>
          <p:cNvSpPr>
            <a:spLocks noGrp="1"/>
          </p:cNvSpPr>
          <p:nvPr>
            <p:ph type="body" sz="quarter" idx="26" hasCustomPrompt="1"/>
          </p:nvPr>
        </p:nvSpPr>
        <p:spPr>
          <a:xfrm>
            <a:off x="9282464" y="4985837"/>
            <a:ext cx="2001837" cy="601587"/>
          </a:xfrm>
          <a:prstGeom prst="rect">
            <a:avLst/>
          </a:prstGeom>
        </p:spPr>
        <p:txBody>
          <a:bodyPr/>
          <a:lstStyle>
            <a:lvl1pPr marL="0" indent="0">
              <a:lnSpc>
                <a:spcPct val="100000"/>
              </a:lnSpc>
              <a:spcBef>
                <a:spcPts val="0"/>
              </a:spcBef>
              <a:buNone/>
              <a:defRPr sz="1800">
                <a:solidFill>
                  <a:schemeClr val="tx1"/>
                </a:solidFill>
              </a:defRPr>
            </a:lvl1pPr>
          </a:lstStyle>
          <a:p>
            <a:pPr lvl="0"/>
            <a:r>
              <a:rPr lang="en-US" dirty="0"/>
              <a:t>Text</a:t>
            </a:r>
          </a:p>
          <a:p>
            <a:pPr lvl="0"/>
            <a:r>
              <a:rPr lang="en-US" dirty="0"/>
              <a:t>Line 2</a:t>
            </a:r>
          </a:p>
        </p:txBody>
      </p:sp>
      <p:sp>
        <p:nvSpPr>
          <p:cNvPr id="20" name="TextBox 19">
            <a:extLst>
              <a:ext uri="{FF2B5EF4-FFF2-40B4-BE49-F238E27FC236}">
                <a16:creationId xmlns:a16="http://schemas.microsoft.com/office/drawing/2014/main" id="{318E8EC5-52A5-9748-A370-02B44F7EF154}"/>
              </a:ext>
            </a:extLst>
          </p:cNvPr>
          <p:cNvSpPr txBox="1"/>
          <p:nvPr userDrawn="1"/>
        </p:nvSpPr>
        <p:spPr>
          <a:xfrm>
            <a:off x="482712" y="6389493"/>
            <a:ext cx="11069208" cy="230832"/>
          </a:xfrm>
          <a:prstGeom prst="rect">
            <a:avLst/>
          </a:prstGeom>
          <a:noFill/>
        </p:spPr>
        <p:txBody>
          <a:bodyPr wrap="square" rtlCol="0">
            <a:spAutoFit/>
          </a:bodyPr>
          <a:lstStyle/>
          <a:p>
            <a:pPr algn="r"/>
            <a:r>
              <a:rPr lang="en-US" sz="900" b="0" dirty="0">
                <a:solidFill>
                  <a:schemeClr val="bg1">
                    <a:lumMod val="50000"/>
                  </a:schemeClr>
                </a:solidFill>
              </a:rPr>
              <a:t>﻿</a:t>
            </a:r>
            <a:r>
              <a:rPr lang="en-US" sz="900" b="0" dirty="0">
                <a:solidFill>
                  <a:schemeClr val="tx1">
                    <a:lumMod val="60000"/>
                    <a:lumOff val="40000"/>
                  </a:schemeClr>
                </a:solidFill>
              </a:rPr>
              <a:t>Source</a:t>
            </a:r>
            <a:r>
              <a:rPr lang="en-US" sz="900" b="0" dirty="0">
                <a:solidFill>
                  <a:schemeClr val="bg1">
                    <a:lumMod val="50000"/>
                  </a:schemeClr>
                </a:solidFill>
              </a:rPr>
              <a:t>: STR. 2022 © CoStar Realty Information, Inc.</a:t>
            </a:r>
          </a:p>
        </p:txBody>
      </p:sp>
    </p:spTree>
    <p:extLst>
      <p:ext uri="{BB962C8B-B14F-4D97-AF65-F5344CB8AC3E}">
        <p14:creationId xmlns:p14="http://schemas.microsoft.com/office/powerpoint/2010/main" val="18502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Cover Option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82754" y="2144364"/>
            <a:ext cx="3601587" cy="712893"/>
          </a:xfrm>
        </p:spPr>
        <p:txBody>
          <a:bodyPr>
            <a:normAutofit/>
          </a:bodyPr>
          <a:lstStyle>
            <a:lvl1pPr algn="l">
              <a:defRPr sz="4800" b="1">
                <a:solidFill>
                  <a:schemeClr val="bg1"/>
                </a:solidFill>
                <a:latin typeface="+mn-lt"/>
              </a:defRPr>
            </a:lvl1pPr>
          </a:lstStyle>
          <a:p>
            <a:r>
              <a:rPr lang="en-US" dirty="0"/>
              <a:t>Questions</a:t>
            </a:r>
          </a:p>
        </p:txBody>
      </p:sp>
      <p:sp>
        <p:nvSpPr>
          <p:cNvPr id="3" name="Subtitle 2"/>
          <p:cNvSpPr>
            <a:spLocks noGrp="1"/>
          </p:cNvSpPr>
          <p:nvPr>
            <p:ph type="subTitle" idx="1" hasCustomPrompt="1"/>
          </p:nvPr>
        </p:nvSpPr>
        <p:spPr>
          <a:xfrm>
            <a:off x="5482754" y="3176134"/>
            <a:ext cx="6159120" cy="505732"/>
          </a:xfrm>
          <a:prstGeom prst="rect">
            <a:avLst/>
          </a:prstGeom>
        </p:spPr>
        <p:txBody>
          <a:bodyPr>
            <a:normAutofit/>
          </a:bodyPr>
          <a:lstStyle>
            <a:lvl1pPr marL="0" indent="0" algn="l">
              <a:buNone/>
              <a:defRPr sz="2800" b="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Name</a:t>
            </a:r>
          </a:p>
        </p:txBody>
      </p:sp>
      <p:sp>
        <p:nvSpPr>
          <p:cNvPr id="4" name="TextBox 3"/>
          <p:cNvSpPr txBox="1"/>
          <p:nvPr userDrawn="1"/>
        </p:nvSpPr>
        <p:spPr>
          <a:xfrm>
            <a:off x="5374887" y="5999184"/>
            <a:ext cx="6266975" cy="646331"/>
          </a:xfrm>
          <a:prstGeom prst="rect">
            <a:avLst/>
          </a:prstGeom>
          <a:noFill/>
        </p:spPr>
        <p:txBody>
          <a:bodyPr wrap="square" rtlCol="0">
            <a:spAutoFit/>
          </a:bodyPr>
          <a:lstStyle/>
          <a:p>
            <a:r>
              <a:rPr lang="en-US" sz="900" kern="1200" dirty="0">
                <a:solidFill>
                  <a:schemeClr val="bg1"/>
                </a:solidFill>
                <a:effectLst/>
                <a:latin typeface="+mn-lt"/>
                <a:ea typeface="+mn-ea"/>
                <a:cs typeface="+mn-cs"/>
              </a:rPr>
              <a:t>Source: 2021 STR, LLC / STR Global, Ltd. trading as "STR". © CoStar Realty Information, Inc.  </a:t>
            </a:r>
            <a:br>
              <a:rPr lang="en-US" sz="900" kern="1200" dirty="0">
                <a:solidFill>
                  <a:schemeClr val="bg1"/>
                </a:solidFill>
                <a:effectLst/>
                <a:latin typeface="+mn-lt"/>
                <a:ea typeface="+mn-ea"/>
                <a:cs typeface="+mn-cs"/>
              </a:rPr>
            </a:br>
            <a:r>
              <a:rPr lang="en-US" sz="900" kern="1200" dirty="0">
                <a:solidFill>
                  <a:schemeClr val="bg1"/>
                </a:solidFill>
                <a:effectLst/>
                <a:latin typeface="+mn-lt"/>
                <a:ea typeface="+mn-ea"/>
                <a:cs typeface="+mn-cs"/>
              </a:rPr>
              <a:t>Any reprint, use or republication of all or a part of this presentation without the prior written approval of STR is strictly prohibited.  </a:t>
            </a:r>
            <a:br>
              <a:rPr lang="en-US" sz="900" kern="1200" dirty="0">
                <a:solidFill>
                  <a:schemeClr val="bg1"/>
                </a:solidFill>
                <a:effectLst/>
                <a:latin typeface="+mn-lt"/>
                <a:ea typeface="+mn-ea"/>
                <a:cs typeface="+mn-cs"/>
              </a:rPr>
            </a:br>
            <a:r>
              <a:rPr lang="en-US" sz="900" kern="1200" dirty="0">
                <a:solidFill>
                  <a:schemeClr val="bg1"/>
                </a:solidFill>
                <a:effectLst/>
                <a:latin typeface="+mn-lt"/>
                <a:ea typeface="+mn-ea"/>
                <a:cs typeface="+mn-cs"/>
              </a:rPr>
              <a:t>Any such reproduction shall specifically credit STR as the source.  This presentation is based on data collected by STR.  </a:t>
            </a:r>
            <a:br>
              <a:rPr lang="en-US" sz="900" kern="1200" dirty="0">
                <a:solidFill>
                  <a:schemeClr val="bg1"/>
                </a:solidFill>
                <a:effectLst/>
                <a:latin typeface="+mn-lt"/>
                <a:ea typeface="+mn-ea"/>
                <a:cs typeface="+mn-cs"/>
              </a:rPr>
            </a:br>
            <a:r>
              <a:rPr lang="en-US" sz="900" kern="1200" dirty="0">
                <a:solidFill>
                  <a:schemeClr val="bg1"/>
                </a:solidFill>
                <a:effectLst/>
                <a:latin typeface="+mn-lt"/>
                <a:ea typeface="+mn-ea"/>
                <a:cs typeface="+mn-cs"/>
              </a:rPr>
              <a:t>The information in the presentation should not be construed as investment, tax, accounting or legal advice.</a:t>
            </a:r>
          </a:p>
        </p:txBody>
      </p:sp>
      <p:pic>
        <p:nvPicPr>
          <p:cNvPr id="16" name="Picture 15">
            <a:extLst>
              <a:ext uri="{FF2B5EF4-FFF2-40B4-BE49-F238E27FC236}">
                <a16:creationId xmlns:a16="http://schemas.microsoft.com/office/drawing/2014/main" id="{14592B15-A237-214C-856C-E7D8FD041EA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2574" y="5318637"/>
            <a:ext cx="641595" cy="528406"/>
          </a:xfrm>
          <a:prstGeom prst="rect">
            <a:avLst/>
          </a:prstGeom>
        </p:spPr>
      </p:pic>
      <p:pic>
        <p:nvPicPr>
          <p:cNvPr id="17" name="Picture 16">
            <a:extLst>
              <a:ext uri="{FF2B5EF4-FFF2-40B4-BE49-F238E27FC236}">
                <a16:creationId xmlns:a16="http://schemas.microsoft.com/office/drawing/2014/main" id="{4E09F4A4-DEE4-B34C-980E-86F8A802F27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40564" y="5324150"/>
            <a:ext cx="1688104" cy="517379"/>
          </a:xfrm>
          <a:prstGeom prst="rect">
            <a:avLst/>
          </a:prstGeom>
        </p:spPr>
      </p:pic>
      <p:pic>
        <p:nvPicPr>
          <p:cNvPr id="24" name="Picture 23">
            <a:extLst>
              <a:ext uri="{FF2B5EF4-FFF2-40B4-BE49-F238E27FC236}">
                <a16:creationId xmlns:a16="http://schemas.microsoft.com/office/drawing/2014/main" id="{C8BE4B5C-9243-034A-9A5B-299FF4EE46B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08608" y="299377"/>
            <a:ext cx="1259664" cy="1259664"/>
          </a:xfrm>
          <a:prstGeom prst="rect">
            <a:avLst/>
          </a:prstGeom>
        </p:spPr>
      </p:pic>
      <p:sp>
        <p:nvSpPr>
          <p:cNvPr id="28" name="Text Placeholder 27">
            <a:extLst>
              <a:ext uri="{FF2B5EF4-FFF2-40B4-BE49-F238E27FC236}">
                <a16:creationId xmlns:a16="http://schemas.microsoft.com/office/drawing/2014/main" id="{613233A7-B7CC-1341-B559-6120252D8B7A}"/>
              </a:ext>
            </a:extLst>
          </p:cNvPr>
          <p:cNvSpPr>
            <a:spLocks noGrp="1"/>
          </p:cNvSpPr>
          <p:nvPr>
            <p:ph type="body" sz="quarter" idx="10" hasCustomPrompt="1"/>
          </p:nvPr>
        </p:nvSpPr>
        <p:spPr>
          <a:xfrm>
            <a:off x="5482574" y="3713765"/>
            <a:ext cx="6159288" cy="433551"/>
          </a:xfrm>
          <a:prstGeom prst="rect">
            <a:avLst/>
          </a:prstGeom>
        </p:spPr>
        <p:txBody>
          <a:bodyPr>
            <a:noAutofit/>
          </a:bodyPr>
          <a:lstStyle>
            <a:lvl1pPr marL="0" indent="0">
              <a:buNone/>
              <a:defRPr sz="2000">
                <a:solidFill>
                  <a:schemeClr val="bg1"/>
                </a:solidFill>
              </a:defRPr>
            </a:lvl1pPr>
          </a:lstStyle>
          <a:p>
            <a:pPr lvl="0"/>
            <a:r>
              <a:rPr lang="en-US" dirty="0"/>
              <a:t>Title</a:t>
            </a:r>
          </a:p>
        </p:txBody>
      </p:sp>
      <p:sp>
        <p:nvSpPr>
          <p:cNvPr id="11" name="TextBox 10">
            <a:extLst>
              <a:ext uri="{FF2B5EF4-FFF2-40B4-BE49-F238E27FC236}">
                <a16:creationId xmlns:a16="http://schemas.microsoft.com/office/drawing/2014/main" id="{1BD3E64A-1EE5-6A41-BA58-89EF828D48F2}"/>
              </a:ext>
            </a:extLst>
          </p:cNvPr>
          <p:cNvSpPr txBox="1"/>
          <p:nvPr userDrawn="1"/>
        </p:nvSpPr>
        <p:spPr>
          <a:xfrm>
            <a:off x="8646289" y="4988689"/>
            <a:ext cx="184731" cy="369332"/>
          </a:xfrm>
          <a:prstGeom prst="rect">
            <a:avLst/>
          </a:prstGeom>
          <a:noFill/>
        </p:spPr>
        <p:txBody>
          <a:bodyPr wrap="none" rtlCol="0">
            <a:spAutoFit/>
          </a:bodyPr>
          <a:lstStyle/>
          <a:p>
            <a:endParaRPr lang="en-US" dirty="0"/>
          </a:p>
        </p:txBody>
      </p:sp>
      <p:sp>
        <p:nvSpPr>
          <p:cNvPr id="5" name="Rectangle 4">
            <a:extLst>
              <a:ext uri="{FF2B5EF4-FFF2-40B4-BE49-F238E27FC236}">
                <a16:creationId xmlns:a16="http://schemas.microsoft.com/office/drawing/2014/main" id="{1D00BA5E-D5D3-0346-92F4-071F0B682862}"/>
              </a:ext>
            </a:extLst>
          </p:cNvPr>
          <p:cNvSpPr/>
          <p:nvPr userDrawn="1"/>
        </p:nvSpPr>
        <p:spPr>
          <a:xfrm>
            <a:off x="0" y="-24"/>
            <a:ext cx="4912805" cy="6858024"/>
          </a:xfrm>
          <a:custGeom>
            <a:avLst/>
            <a:gdLst>
              <a:gd name="connsiteX0" fmla="*/ 0 w 4419600"/>
              <a:gd name="connsiteY0" fmla="*/ 0 h 6858000"/>
              <a:gd name="connsiteX1" fmla="*/ 4419600 w 4419600"/>
              <a:gd name="connsiteY1" fmla="*/ 0 h 6858000"/>
              <a:gd name="connsiteX2" fmla="*/ 4419600 w 4419600"/>
              <a:gd name="connsiteY2" fmla="*/ 6858000 h 6858000"/>
              <a:gd name="connsiteX3" fmla="*/ 0 w 4419600"/>
              <a:gd name="connsiteY3" fmla="*/ 6858000 h 6858000"/>
              <a:gd name="connsiteX4" fmla="*/ 0 w 4419600"/>
              <a:gd name="connsiteY4" fmla="*/ 0 h 6858000"/>
              <a:gd name="connsiteX0" fmla="*/ 0 w 5029200"/>
              <a:gd name="connsiteY0" fmla="*/ 12700 h 6870700"/>
              <a:gd name="connsiteX1" fmla="*/ 5029200 w 5029200"/>
              <a:gd name="connsiteY1" fmla="*/ 0 h 6870700"/>
              <a:gd name="connsiteX2" fmla="*/ 4419600 w 5029200"/>
              <a:gd name="connsiteY2" fmla="*/ 6870700 h 6870700"/>
              <a:gd name="connsiteX3" fmla="*/ 0 w 5029200"/>
              <a:gd name="connsiteY3" fmla="*/ 6870700 h 6870700"/>
              <a:gd name="connsiteX4" fmla="*/ 0 w 5029200"/>
              <a:gd name="connsiteY4" fmla="*/ 12700 h 6870700"/>
              <a:gd name="connsiteX0" fmla="*/ 0 w 5029200"/>
              <a:gd name="connsiteY0" fmla="*/ 0 h 6870723"/>
              <a:gd name="connsiteX1" fmla="*/ 5029200 w 5029200"/>
              <a:gd name="connsiteY1" fmla="*/ 23 h 6870723"/>
              <a:gd name="connsiteX2" fmla="*/ 4419600 w 5029200"/>
              <a:gd name="connsiteY2" fmla="*/ 6870723 h 6870723"/>
              <a:gd name="connsiteX3" fmla="*/ 0 w 5029200"/>
              <a:gd name="connsiteY3" fmla="*/ 6870723 h 6870723"/>
              <a:gd name="connsiteX4" fmla="*/ 0 w 5029200"/>
              <a:gd name="connsiteY4" fmla="*/ 0 h 68707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9200" h="6870723">
                <a:moveTo>
                  <a:pt x="0" y="0"/>
                </a:moveTo>
                <a:lnTo>
                  <a:pt x="5029200" y="23"/>
                </a:lnTo>
                <a:lnTo>
                  <a:pt x="4419600" y="6870723"/>
                </a:lnTo>
                <a:lnTo>
                  <a:pt x="0" y="687072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37349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Cover Option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08265" y="1069465"/>
            <a:ext cx="3601587" cy="712893"/>
          </a:xfrm>
        </p:spPr>
        <p:txBody>
          <a:bodyPr>
            <a:normAutofit/>
          </a:bodyPr>
          <a:lstStyle>
            <a:lvl1pPr algn="l">
              <a:defRPr sz="5067" b="1">
                <a:solidFill>
                  <a:schemeClr val="bg1"/>
                </a:solidFill>
                <a:latin typeface="+mn-lt"/>
              </a:defRPr>
            </a:lvl1pPr>
          </a:lstStyle>
          <a:p>
            <a:r>
              <a:rPr lang="en-US" dirty="0"/>
              <a:t>Thank You!</a:t>
            </a:r>
          </a:p>
        </p:txBody>
      </p:sp>
      <p:sp>
        <p:nvSpPr>
          <p:cNvPr id="26" name="Trapezoid 5">
            <a:extLst>
              <a:ext uri="{FF2B5EF4-FFF2-40B4-BE49-F238E27FC236}">
                <a16:creationId xmlns:a16="http://schemas.microsoft.com/office/drawing/2014/main" id="{72F83640-6433-1F4E-A2E6-8F9662D4DCDB}"/>
              </a:ext>
            </a:extLst>
          </p:cNvPr>
          <p:cNvSpPr/>
          <p:nvPr userDrawn="1"/>
        </p:nvSpPr>
        <p:spPr>
          <a:xfrm rot="10800000">
            <a:off x="3992211" y="-11575"/>
            <a:ext cx="5744051" cy="6869576"/>
          </a:xfrm>
          <a:custGeom>
            <a:avLst/>
            <a:gdLst>
              <a:gd name="connsiteX0" fmla="*/ 0 w 9601200"/>
              <a:gd name="connsiteY0" fmla="*/ 6869576 h 6869576"/>
              <a:gd name="connsiteX1" fmla="*/ 1717394 w 9601200"/>
              <a:gd name="connsiteY1" fmla="*/ 0 h 6869576"/>
              <a:gd name="connsiteX2" fmla="*/ 7883806 w 9601200"/>
              <a:gd name="connsiteY2" fmla="*/ 0 h 6869576"/>
              <a:gd name="connsiteX3" fmla="*/ 9601200 w 9601200"/>
              <a:gd name="connsiteY3" fmla="*/ 6869576 h 6869576"/>
              <a:gd name="connsiteX4" fmla="*/ 0 w 9601200"/>
              <a:gd name="connsiteY4" fmla="*/ 6869576 h 6869576"/>
              <a:gd name="connsiteX0" fmla="*/ 0 w 9611006"/>
              <a:gd name="connsiteY0" fmla="*/ 6869576 h 6869576"/>
              <a:gd name="connsiteX1" fmla="*/ 1717394 w 9611006"/>
              <a:gd name="connsiteY1" fmla="*/ 0 h 6869576"/>
              <a:gd name="connsiteX2" fmla="*/ 9611006 w 9611006"/>
              <a:gd name="connsiteY2" fmla="*/ 0 h 6869576"/>
              <a:gd name="connsiteX3" fmla="*/ 9601200 w 9611006"/>
              <a:gd name="connsiteY3" fmla="*/ 6869576 h 6869576"/>
              <a:gd name="connsiteX4" fmla="*/ 0 w 9611006"/>
              <a:gd name="connsiteY4" fmla="*/ 6869576 h 6869576"/>
              <a:gd name="connsiteX0" fmla="*/ 0 w 9611006"/>
              <a:gd name="connsiteY0" fmla="*/ 6869576 h 6869576"/>
              <a:gd name="connsiteX1" fmla="*/ 777594 w 9611006"/>
              <a:gd name="connsiteY1" fmla="*/ 0 h 6869576"/>
              <a:gd name="connsiteX2" fmla="*/ 9611006 w 9611006"/>
              <a:gd name="connsiteY2" fmla="*/ 0 h 6869576"/>
              <a:gd name="connsiteX3" fmla="*/ 9601200 w 9611006"/>
              <a:gd name="connsiteY3" fmla="*/ 6869576 h 6869576"/>
              <a:gd name="connsiteX4" fmla="*/ 0 w 9611006"/>
              <a:gd name="connsiteY4" fmla="*/ 6869576 h 6869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11006" h="6869576">
                <a:moveTo>
                  <a:pt x="0" y="6869576"/>
                </a:moveTo>
                <a:lnTo>
                  <a:pt x="777594" y="0"/>
                </a:lnTo>
                <a:lnTo>
                  <a:pt x="9611006" y="0"/>
                </a:lnTo>
                <a:cubicBezTo>
                  <a:pt x="9607737" y="2289859"/>
                  <a:pt x="9604469" y="4579717"/>
                  <a:pt x="9601200" y="6869576"/>
                </a:cubicBezTo>
                <a:lnTo>
                  <a:pt x="0" y="6869576"/>
                </a:lnTo>
                <a:close/>
              </a:path>
            </a:pathLst>
          </a:custGeom>
          <a:solidFill>
            <a:srgbClr val="97DF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rapezoid 5">
            <a:extLst>
              <a:ext uri="{FF2B5EF4-FFF2-40B4-BE49-F238E27FC236}">
                <a16:creationId xmlns:a16="http://schemas.microsoft.com/office/drawing/2014/main" id="{A93719EF-6C3A-6E44-9C2A-9C731ECE8637}"/>
              </a:ext>
            </a:extLst>
          </p:cNvPr>
          <p:cNvSpPr/>
          <p:nvPr userDrawn="1"/>
        </p:nvSpPr>
        <p:spPr>
          <a:xfrm rot="10800000">
            <a:off x="-15798" y="-11576"/>
            <a:ext cx="9743998" cy="6869576"/>
          </a:xfrm>
          <a:custGeom>
            <a:avLst/>
            <a:gdLst>
              <a:gd name="connsiteX0" fmla="*/ 0 w 9601200"/>
              <a:gd name="connsiteY0" fmla="*/ 6869576 h 6869576"/>
              <a:gd name="connsiteX1" fmla="*/ 1717394 w 9601200"/>
              <a:gd name="connsiteY1" fmla="*/ 0 h 6869576"/>
              <a:gd name="connsiteX2" fmla="*/ 7883806 w 9601200"/>
              <a:gd name="connsiteY2" fmla="*/ 0 h 6869576"/>
              <a:gd name="connsiteX3" fmla="*/ 9601200 w 9601200"/>
              <a:gd name="connsiteY3" fmla="*/ 6869576 h 6869576"/>
              <a:gd name="connsiteX4" fmla="*/ 0 w 9601200"/>
              <a:gd name="connsiteY4" fmla="*/ 6869576 h 6869576"/>
              <a:gd name="connsiteX0" fmla="*/ 0 w 9611006"/>
              <a:gd name="connsiteY0" fmla="*/ 6869576 h 6869576"/>
              <a:gd name="connsiteX1" fmla="*/ 1717394 w 9611006"/>
              <a:gd name="connsiteY1" fmla="*/ 0 h 6869576"/>
              <a:gd name="connsiteX2" fmla="*/ 9611006 w 9611006"/>
              <a:gd name="connsiteY2" fmla="*/ 0 h 6869576"/>
              <a:gd name="connsiteX3" fmla="*/ 9601200 w 9611006"/>
              <a:gd name="connsiteY3" fmla="*/ 6869576 h 6869576"/>
              <a:gd name="connsiteX4" fmla="*/ 0 w 9611006"/>
              <a:gd name="connsiteY4" fmla="*/ 6869576 h 6869576"/>
              <a:gd name="connsiteX0" fmla="*/ 0 w 9611006"/>
              <a:gd name="connsiteY0" fmla="*/ 6869576 h 6869576"/>
              <a:gd name="connsiteX1" fmla="*/ 777594 w 9611006"/>
              <a:gd name="connsiteY1" fmla="*/ 0 h 6869576"/>
              <a:gd name="connsiteX2" fmla="*/ 9611006 w 9611006"/>
              <a:gd name="connsiteY2" fmla="*/ 0 h 6869576"/>
              <a:gd name="connsiteX3" fmla="*/ 9601200 w 9611006"/>
              <a:gd name="connsiteY3" fmla="*/ 6869576 h 6869576"/>
              <a:gd name="connsiteX4" fmla="*/ 0 w 9611006"/>
              <a:gd name="connsiteY4" fmla="*/ 6869576 h 6869576"/>
              <a:gd name="connsiteX0" fmla="*/ 0 w 9638997"/>
              <a:gd name="connsiteY0" fmla="*/ 6869576 h 6869576"/>
              <a:gd name="connsiteX1" fmla="*/ 777594 w 9638997"/>
              <a:gd name="connsiteY1" fmla="*/ 0 h 6869576"/>
              <a:gd name="connsiteX2" fmla="*/ 9611006 w 9638997"/>
              <a:gd name="connsiteY2" fmla="*/ 0 h 6869576"/>
              <a:gd name="connsiteX3" fmla="*/ 9638778 w 9638997"/>
              <a:gd name="connsiteY3" fmla="*/ 6869576 h 6869576"/>
              <a:gd name="connsiteX4" fmla="*/ 0 w 9638997"/>
              <a:gd name="connsiteY4" fmla="*/ 6869576 h 6869576"/>
              <a:gd name="connsiteX0" fmla="*/ 0 w 9626587"/>
              <a:gd name="connsiteY0" fmla="*/ 6869576 h 6869576"/>
              <a:gd name="connsiteX1" fmla="*/ 777594 w 9626587"/>
              <a:gd name="connsiteY1" fmla="*/ 0 h 6869576"/>
              <a:gd name="connsiteX2" fmla="*/ 9611006 w 9626587"/>
              <a:gd name="connsiteY2" fmla="*/ 0 h 6869576"/>
              <a:gd name="connsiteX3" fmla="*/ 9626252 w 9626587"/>
              <a:gd name="connsiteY3" fmla="*/ 6869576 h 6869576"/>
              <a:gd name="connsiteX4" fmla="*/ 0 w 9626587"/>
              <a:gd name="connsiteY4" fmla="*/ 6869576 h 6869576"/>
              <a:gd name="connsiteX0" fmla="*/ 0 w 9611006"/>
              <a:gd name="connsiteY0" fmla="*/ 6869576 h 6869576"/>
              <a:gd name="connsiteX1" fmla="*/ 777594 w 9611006"/>
              <a:gd name="connsiteY1" fmla="*/ 0 h 6869576"/>
              <a:gd name="connsiteX2" fmla="*/ 9611006 w 9611006"/>
              <a:gd name="connsiteY2" fmla="*/ 0 h 6869576"/>
              <a:gd name="connsiteX3" fmla="*/ 9588675 w 9611006"/>
              <a:gd name="connsiteY3" fmla="*/ 6856876 h 6869576"/>
              <a:gd name="connsiteX4" fmla="*/ 0 w 9611006"/>
              <a:gd name="connsiteY4" fmla="*/ 6869576 h 6869576"/>
              <a:gd name="connsiteX0" fmla="*/ 0 w 9626587"/>
              <a:gd name="connsiteY0" fmla="*/ 6869576 h 6869576"/>
              <a:gd name="connsiteX1" fmla="*/ 777594 w 9626587"/>
              <a:gd name="connsiteY1" fmla="*/ 0 h 6869576"/>
              <a:gd name="connsiteX2" fmla="*/ 9611006 w 9626587"/>
              <a:gd name="connsiteY2" fmla="*/ 0 h 6869576"/>
              <a:gd name="connsiteX3" fmla="*/ 9626252 w 9626587"/>
              <a:gd name="connsiteY3" fmla="*/ 6856876 h 6869576"/>
              <a:gd name="connsiteX4" fmla="*/ 0 w 9626587"/>
              <a:gd name="connsiteY4" fmla="*/ 6869576 h 6869576"/>
              <a:gd name="connsiteX0" fmla="*/ 0 w 9626587"/>
              <a:gd name="connsiteY0" fmla="*/ 6869576 h 6882276"/>
              <a:gd name="connsiteX1" fmla="*/ 777594 w 9626587"/>
              <a:gd name="connsiteY1" fmla="*/ 0 h 6882276"/>
              <a:gd name="connsiteX2" fmla="*/ 9611006 w 9626587"/>
              <a:gd name="connsiteY2" fmla="*/ 0 h 6882276"/>
              <a:gd name="connsiteX3" fmla="*/ 9626252 w 9626587"/>
              <a:gd name="connsiteY3" fmla="*/ 6882276 h 6882276"/>
              <a:gd name="connsiteX4" fmla="*/ 0 w 9626587"/>
              <a:gd name="connsiteY4" fmla="*/ 6869576 h 6882276"/>
              <a:gd name="connsiteX0" fmla="*/ 0 w 9626587"/>
              <a:gd name="connsiteY0" fmla="*/ 6869576 h 6869576"/>
              <a:gd name="connsiteX1" fmla="*/ 777594 w 9626587"/>
              <a:gd name="connsiteY1" fmla="*/ 0 h 6869576"/>
              <a:gd name="connsiteX2" fmla="*/ 9611006 w 9626587"/>
              <a:gd name="connsiteY2" fmla="*/ 0 h 6869576"/>
              <a:gd name="connsiteX3" fmla="*/ 9626252 w 9626587"/>
              <a:gd name="connsiteY3" fmla="*/ 6844176 h 6869576"/>
              <a:gd name="connsiteX4" fmla="*/ 0 w 9626587"/>
              <a:gd name="connsiteY4" fmla="*/ 6869576 h 6869576"/>
              <a:gd name="connsiteX0" fmla="*/ 0 w 9626587"/>
              <a:gd name="connsiteY0" fmla="*/ 6869576 h 6869576"/>
              <a:gd name="connsiteX1" fmla="*/ 777594 w 9626587"/>
              <a:gd name="connsiteY1" fmla="*/ 0 h 6869576"/>
              <a:gd name="connsiteX2" fmla="*/ 9611006 w 9626587"/>
              <a:gd name="connsiteY2" fmla="*/ 0 h 6869576"/>
              <a:gd name="connsiteX3" fmla="*/ 9626252 w 9626587"/>
              <a:gd name="connsiteY3" fmla="*/ 6856876 h 6869576"/>
              <a:gd name="connsiteX4" fmla="*/ 0 w 9626587"/>
              <a:gd name="connsiteY4" fmla="*/ 6869576 h 6869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6587" h="6869576">
                <a:moveTo>
                  <a:pt x="0" y="6869576"/>
                </a:moveTo>
                <a:lnTo>
                  <a:pt x="777594" y="0"/>
                </a:lnTo>
                <a:lnTo>
                  <a:pt x="9611006" y="0"/>
                </a:lnTo>
                <a:cubicBezTo>
                  <a:pt x="9607737" y="2289859"/>
                  <a:pt x="9629521" y="4567017"/>
                  <a:pt x="9626252" y="6856876"/>
                </a:cubicBezTo>
                <a:lnTo>
                  <a:pt x="0" y="6869576"/>
                </a:lnTo>
                <a:close/>
              </a:path>
            </a:pathLst>
          </a:custGeom>
          <a:gradFill>
            <a:gsLst>
              <a:gs pos="0">
                <a:srgbClr val="265088"/>
              </a:gs>
              <a:gs pos="100000">
                <a:srgbClr val="00B8B0"/>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a:xfrm>
            <a:off x="908265" y="1941948"/>
            <a:ext cx="6611424" cy="505732"/>
          </a:xfrm>
          <a:prstGeom prst="rect">
            <a:avLst/>
          </a:prstGeom>
        </p:spPr>
        <p:txBody>
          <a:bodyPr>
            <a:noAutofit/>
          </a:bodyPr>
          <a:lstStyle>
            <a:lvl1pPr marL="0" indent="0" algn="l">
              <a:buNone/>
              <a:defRPr sz="2800" b="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Name</a:t>
            </a:r>
          </a:p>
        </p:txBody>
      </p:sp>
      <p:sp>
        <p:nvSpPr>
          <p:cNvPr id="4" name="TextBox 3"/>
          <p:cNvSpPr txBox="1"/>
          <p:nvPr userDrawn="1"/>
        </p:nvSpPr>
        <p:spPr>
          <a:xfrm>
            <a:off x="857301" y="5935507"/>
            <a:ext cx="9652000" cy="707886"/>
          </a:xfrm>
          <a:prstGeom prst="rect">
            <a:avLst/>
          </a:prstGeom>
          <a:noFill/>
        </p:spPr>
        <p:txBody>
          <a:bodyPr wrap="square" rtlCol="0">
            <a:spAutoFit/>
          </a:bodyPr>
          <a:lstStyle/>
          <a:p>
            <a:r>
              <a:rPr lang="en-US" sz="1000" kern="1200" dirty="0">
                <a:solidFill>
                  <a:schemeClr val="bg1"/>
                </a:solidFill>
                <a:effectLst/>
                <a:latin typeface="+mn-lt"/>
                <a:ea typeface="+mn-ea"/>
                <a:cs typeface="+mn-cs"/>
              </a:rPr>
              <a:t>Source: 2022 STR, LLC / STR Global, Ltd. trading as "STR". © CoStar Realty Information, Inc.  </a:t>
            </a:r>
            <a:br>
              <a:rPr lang="en-US" sz="1000" kern="1200" dirty="0">
                <a:solidFill>
                  <a:schemeClr val="bg1"/>
                </a:solidFill>
                <a:effectLst/>
                <a:latin typeface="+mn-lt"/>
                <a:ea typeface="+mn-ea"/>
                <a:cs typeface="+mn-cs"/>
              </a:rPr>
            </a:br>
            <a:r>
              <a:rPr lang="en-US" sz="1000" kern="1200" dirty="0">
                <a:solidFill>
                  <a:schemeClr val="bg1"/>
                </a:solidFill>
                <a:effectLst/>
                <a:latin typeface="+mn-lt"/>
                <a:ea typeface="+mn-ea"/>
                <a:cs typeface="+mn-cs"/>
              </a:rPr>
              <a:t>Any reprint, use or republication of all or a part of this presentation without the prior written approval of STR is strictly prohibited.  </a:t>
            </a:r>
            <a:br>
              <a:rPr lang="en-US" sz="1000" kern="1200" dirty="0">
                <a:solidFill>
                  <a:schemeClr val="bg1"/>
                </a:solidFill>
                <a:effectLst/>
                <a:latin typeface="+mn-lt"/>
                <a:ea typeface="+mn-ea"/>
                <a:cs typeface="+mn-cs"/>
              </a:rPr>
            </a:br>
            <a:r>
              <a:rPr lang="en-US" sz="1000" kern="1200" dirty="0">
                <a:solidFill>
                  <a:schemeClr val="bg1"/>
                </a:solidFill>
                <a:effectLst/>
                <a:latin typeface="+mn-lt"/>
                <a:ea typeface="+mn-ea"/>
                <a:cs typeface="+mn-cs"/>
              </a:rPr>
              <a:t>Any such reproduction shall specifically credit STR as the source.  This presentation is based on data collected by STR.  </a:t>
            </a:r>
            <a:br>
              <a:rPr lang="en-US" sz="1000" kern="1200" dirty="0">
                <a:solidFill>
                  <a:schemeClr val="bg1"/>
                </a:solidFill>
                <a:effectLst/>
                <a:latin typeface="+mn-lt"/>
                <a:ea typeface="+mn-ea"/>
                <a:cs typeface="+mn-cs"/>
              </a:rPr>
            </a:br>
            <a:r>
              <a:rPr lang="en-US" sz="1000" kern="1200" dirty="0">
                <a:solidFill>
                  <a:schemeClr val="bg1"/>
                </a:solidFill>
                <a:effectLst/>
                <a:latin typeface="+mn-lt"/>
                <a:ea typeface="+mn-ea"/>
                <a:cs typeface="+mn-cs"/>
              </a:rPr>
              <a:t>The information in the presentation should not be construed as investment, tax, accounting or legal advice.</a:t>
            </a:r>
          </a:p>
        </p:txBody>
      </p:sp>
      <p:pic>
        <p:nvPicPr>
          <p:cNvPr id="16" name="Picture 15">
            <a:extLst>
              <a:ext uri="{FF2B5EF4-FFF2-40B4-BE49-F238E27FC236}">
                <a16:creationId xmlns:a16="http://schemas.microsoft.com/office/drawing/2014/main" id="{14592B15-A237-214C-856C-E7D8FD041EA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198" y="5254960"/>
            <a:ext cx="641595" cy="528406"/>
          </a:xfrm>
          <a:prstGeom prst="rect">
            <a:avLst/>
          </a:prstGeom>
        </p:spPr>
      </p:pic>
      <p:pic>
        <p:nvPicPr>
          <p:cNvPr id="17" name="Picture 16">
            <a:extLst>
              <a:ext uri="{FF2B5EF4-FFF2-40B4-BE49-F238E27FC236}">
                <a16:creationId xmlns:a16="http://schemas.microsoft.com/office/drawing/2014/main" id="{4E09F4A4-DEE4-B34C-980E-86F8A802F27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61188" y="5260473"/>
            <a:ext cx="1688104" cy="517379"/>
          </a:xfrm>
          <a:prstGeom prst="rect">
            <a:avLst/>
          </a:prstGeom>
        </p:spPr>
      </p:pic>
      <p:pic>
        <p:nvPicPr>
          <p:cNvPr id="24" name="Picture 23">
            <a:extLst>
              <a:ext uri="{FF2B5EF4-FFF2-40B4-BE49-F238E27FC236}">
                <a16:creationId xmlns:a16="http://schemas.microsoft.com/office/drawing/2014/main" id="{C8BE4B5C-9243-034A-9A5B-299FF4EE46B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49565" y="209082"/>
            <a:ext cx="1259664" cy="1259664"/>
          </a:xfrm>
          <a:prstGeom prst="rect">
            <a:avLst/>
          </a:prstGeom>
        </p:spPr>
      </p:pic>
      <p:sp>
        <p:nvSpPr>
          <p:cNvPr id="28" name="Text Placeholder 27">
            <a:extLst>
              <a:ext uri="{FF2B5EF4-FFF2-40B4-BE49-F238E27FC236}">
                <a16:creationId xmlns:a16="http://schemas.microsoft.com/office/drawing/2014/main" id="{613233A7-B7CC-1341-B559-6120252D8B7A}"/>
              </a:ext>
            </a:extLst>
          </p:cNvPr>
          <p:cNvSpPr>
            <a:spLocks noGrp="1"/>
          </p:cNvSpPr>
          <p:nvPr>
            <p:ph type="body" sz="quarter" idx="10" hasCustomPrompt="1"/>
          </p:nvPr>
        </p:nvSpPr>
        <p:spPr>
          <a:xfrm>
            <a:off x="908085" y="2479579"/>
            <a:ext cx="6611603" cy="433551"/>
          </a:xfrm>
          <a:prstGeom prst="rect">
            <a:avLst/>
          </a:prstGeom>
        </p:spPr>
        <p:txBody>
          <a:bodyPr>
            <a:noAutofit/>
          </a:bodyPr>
          <a:lstStyle>
            <a:lvl1pPr marL="0" indent="0">
              <a:buNone/>
              <a:defRPr sz="2000">
                <a:solidFill>
                  <a:schemeClr val="bg1"/>
                </a:solidFill>
              </a:defRPr>
            </a:lvl1pPr>
          </a:lstStyle>
          <a:p>
            <a:pPr lvl="0"/>
            <a:r>
              <a:rPr lang="en-US" dirty="0"/>
              <a:t>Title</a:t>
            </a:r>
          </a:p>
        </p:txBody>
      </p:sp>
      <p:sp>
        <p:nvSpPr>
          <p:cNvPr id="11" name="TextBox 10">
            <a:extLst>
              <a:ext uri="{FF2B5EF4-FFF2-40B4-BE49-F238E27FC236}">
                <a16:creationId xmlns:a16="http://schemas.microsoft.com/office/drawing/2014/main" id="{1BD3E64A-1EE5-6A41-BA58-89EF828D48F2}"/>
              </a:ext>
            </a:extLst>
          </p:cNvPr>
          <p:cNvSpPr txBox="1"/>
          <p:nvPr userDrawn="1"/>
        </p:nvSpPr>
        <p:spPr>
          <a:xfrm>
            <a:off x="8646289" y="4988689"/>
            <a:ext cx="184731" cy="369332"/>
          </a:xfrm>
          <a:prstGeom prst="rect">
            <a:avLst/>
          </a:prstGeom>
          <a:noFill/>
        </p:spPr>
        <p:txBody>
          <a:bodyPr wrap="none" rtlCol="0">
            <a:spAutoFit/>
          </a:bodyPr>
          <a:lstStyle/>
          <a:p>
            <a:endParaRPr lang="en-US" dirty="0"/>
          </a:p>
        </p:txBody>
      </p:sp>
      <p:sp>
        <p:nvSpPr>
          <p:cNvPr id="30" name="Rectangle 29">
            <a:extLst>
              <a:ext uri="{FF2B5EF4-FFF2-40B4-BE49-F238E27FC236}">
                <a16:creationId xmlns:a16="http://schemas.microsoft.com/office/drawing/2014/main" id="{CD25656D-47A4-C741-9A80-E84B79ACC863}"/>
              </a:ext>
            </a:extLst>
          </p:cNvPr>
          <p:cNvSpPr/>
          <p:nvPr userDrawn="1"/>
        </p:nvSpPr>
        <p:spPr>
          <a:xfrm>
            <a:off x="908265" y="4110592"/>
            <a:ext cx="1273810" cy="338554"/>
          </a:xfrm>
          <a:prstGeom prst="rect">
            <a:avLst/>
          </a:prstGeom>
        </p:spPr>
        <p:txBody>
          <a:bodyPr wrap="none">
            <a:spAutoFit/>
          </a:bodyPr>
          <a:lstStyle/>
          <a:p>
            <a:pPr algn="ctr"/>
            <a:r>
              <a:rPr lang="en-US" sz="1600" dirty="0">
                <a:solidFill>
                  <a:schemeClr val="bg1"/>
                </a:solidFill>
                <a:latin typeface="Calibri" panose="020F0502020204030204" pitchFamily="34" charset="0"/>
                <a:ea typeface="Open Sans Light" panose="020B0306030504020204" pitchFamily="34" charset="0"/>
                <a:cs typeface="Calibri" panose="020F0502020204030204" pitchFamily="34" charset="0"/>
              </a:rPr>
              <a:t>www.str.com</a:t>
            </a:r>
          </a:p>
        </p:txBody>
      </p:sp>
      <p:sp>
        <p:nvSpPr>
          <p:cNvPr id="32" name="Freeform 54">
            <a:extLst>
              <a:ext uri="{FF2B5EF4-FFF2-40B4-BE49-F238E27FC236}">
                <a16:creationId xmlns:a16="http://schemas.microsoft.com/office/drawing/2014/main" id="{C5D627F8-B238-1A45-879B-528DE79B101D}"/>
              </a:ext>
            </a:extLst>
          </p:cNvPr>
          <p:cNvSpPr>
            <a:spLocks noEditPoints="1"/>
          </p:cNvSpPr>
          <p:nvPr userDrawn="1"/>
        </p:nvSpPr>
        <p:spPr bwMode="auto">
          <a:xfrm>
            <a:off x="1268322" y="3396597"/>
            <a:ext cx="553696" cy="553696"/>
          </a:xfrm>
          <a:custGeom>
            <a:avLst/>
            <a:gdLst>
              <a:gd name="T0" fmla="*/ 100 w 200"/>
              <a:gd name="T1" fmla="*/ 0 h 200"/>
              <a:gd name="T2" fmla="*/ 100 w 200"/>
              <a:gd name="T3" fmla="*/ 0 h 200"/>
              <a:gd name="T4" fmla="*/ 100 w 200"/>
              <a:gd name="T5" fmla="*/ 200 h 200"/>
              <a:gd name="T6" fmla="*/ 100 w 200"/>
              <a:gd name="T7" fmla="*/ 200 h 200"/>
              <a:gd name="T8" fmla="*/ 200 w 200"/>
              <a:gd name="T9" fmla="*/ 100 h 200"/>
              <a:gd name="T10" fmla="*/ 104 w 200"/>
              <a:gd name="T11" fmla="*/ 59 h 200"/>
              <a:gd name="T12" fmla="*/ 140 w 200"/>
              <a:gd name="T13" fmla="*/ 96 h 200"/>
              <a:gd name="T14" fmla="*/ 104 w 200"/>
              <a:gd name="T15" fmla="*/ 59 h 200"/>
              <a:gd name="T16" fmla="*/ 104 w 200"/>
              <a:gd name="T17" fmla="*/ 8 h 200"/>
              <a:gd name="T18" fmla="*/ 104 w 200"/>
              <a:gd name="T19" fmla="*/ 51 h 200"/>
              <a:gd name="T20" fmla="*/ 96 w 200"/>
              <a:gd name="T21" fmla="*/ 51 h 200"/>
              <a:gd name="T22" fmla="*/ 96 w 200"/>
              <a:gd name="T23" fmla="*/ 8 h 200"/>
              <a:gd name="T24" fmla="*/ 96 w 200"/>
              <a:gd name="T25" fmla="*/ 96 h 200"/>
              <a:gd name="T26" fmla="*/ 65 w 200"/>
              <a:gd name="T27" fmla="*/ 55 h 200"/>
              <a:gd name="T28" fmla="*/ 52 w 200"/>
              <a:gd name="T29" fmla="*/ 96 h 200"/>
              <a:gd name="T30" fmla="*/ 29 w 200"/>
              <a:gd name="T31" fmla="*/ 41 h 200"/>
              <a:gd name="T32" fmla="*/ 52 w 200"/>
              <a:gd name="T33" fmla="*/ 96 h 200"/>
              <a:gd name="T34" fmla="*/ 57 w 200"/>
              <a:gd name="T35" fmla="*/ 146 h 200"/>
              <a:gd name="T36" fmla="*/ 8 w 200"/>
              <a:gd name="T37" fmla="*/ 104 h 200"/>
              <a:gd name="T38" fmla="*/ 60 w 200"/>
              <a:gd name="T39" fmla="*/ 104 h 200"/>
              <a:gd name="T40" fmla="*/ 96 w 200"/>
              <a:gd name="T41" fmla="*/ 140 h 200"/>
              <a:gd name="T42" fmla="*/ 60 w 200"/>
              <a:gd name="T43" fmla="*/ 104 h 200"/>
              <a:gd name="T44" fmla="*/ 96 w 200"/>
              <a:gd name="T45" fmla="*/ 191 h 200"/>
              <a:gd name="T46" fmla="*/ 96 w 200"/>
              <a:gd name="T47" fmla="*/ 148 h 200"/>
              <a:gd name="T48" fmla="*/ 104 w 200"/>
              <a:gd name="T49" fmla="*/ 148 h 200"/>
              <a:gd name="T50" fmla="*/ 104 w 200"/>
              <a:gd name="T51" fmla="*/ 191 h 200"/>
              <a:gd name="T52" fmla="*/ 104 w 200"/>
              <a:gd name="T53" fmla="*/ 104 h 200"/>
              <a:gd name="T54" fmla="*/ 135 w 200"/>
              <a:gd name="T55" fmla="*/ 144 h 200"/>
              <a:gd name="T56" fmla="*/ 148 w 200"/>
              <a:gd name="T57" fmla="*/ 104 h 200"/>
              <a:gd name="T58" fmla="*/ 171 w 200"/>
              <a:gd name="T59" fmla="*/ 158 h 200"/>
              <a:gd name="T60" fmla="*/ 148 w 200"/>
              <a:gd name="T61" fmla="*/ 104 h 200"/>
              <a:gd name="T62" fmla="*/ 143 w 200"/>
              <a:gd name="T63" fmla="*/ 53 h 200"/>
              <a:gd name="T64" fmla="*/ 192 w 200"/>
              <a:gd name="T65" fmla="*/ 96 h 200"/>
              <a:gd name="T66" fmla="*/ 166 w 200"/>
              <a:gd name="T67" fmla="*/ 35 h 200"/>
              <a:gd name="T68" fmla="*/ 121 w 200"/>
              <a:gd name="T69" fmla="*/ 10 h 200"/>
              <a:gd name="T70" fmla="*/ 78 w 200"/>
              <a:gd name="T71" fmla="*/ 10 h 200"/>
              <a:gd name="T72" fmla="*/ 34 w 200"/>
              <a:gd name="T73" fmla="*/ 35 h 200"/>
              <a:gd name="T74" fmla="*/ 34 w 200"/>
              <a:gd name="T75" fmla="*/ 164 h 200"/>
              <a:gd name="T76" fmla="*/ 78 w 200"/>
              <a:gd name="T77" fmla="*/ 189 h 200"/>
              <a:gd name="T78" fmla="*/ 121 w 200"/>
              <a:gd name="T79" fmla="*/ 189 h 200"/>
              <a:gd name="T80" fmla="*/ 166 w 200"/>
              <a:gd name="T81" fmla="*/ 16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00">
                <a:moveTo>
                  <a:pt x="100" y="0"/>
                </a:moveTo>
                <a:cubicBezTo>
                  <a:pt x="100" y="0"/>
                  <a:pt x="100" y="0"/>
                  <a:pt x="100" y="0"/>
                </a:cubicBezTo>
                <a:cubicBezTo>
                  <a:pt x="100" y="0"/>
                  <a:pt x="100" y="0"/>
                  <a:pt x="100" y="0"/>
                </a:cubicBezTo>
                <a:cubicBezTo>
                  <a:pt x="100" y="0"/>
                  <a:pt x="100" y="0"/>
                  <a:pt x="100" y="0"/>
                </a:cubicBezTo>
                <a:cubicBezTo>
                  <a:pt x="45" y="0"/>
                  <a:pt x="0" y="44"/>
                  <a:pt x="0" y="100"/>
                </a:cubicBezTo>
                <a:cubicBezTo>
                  <a:pt x="0" y="155"/>
                  <a:pt x="45" y="199"/>
                  <a:pt x="100" y="200"/>
                </a:cubicBezTo>
                <a:cubicBezTo>
                  <a:pt x="100" y="200"/>
                  <a:pt x="100" y="200"/>
                  <a:pt x="100" y="200"/>
                </a:cubicBezTo>
                <a:cubicBezTo>
                  <a:pt x="100" y="200"/>
                  <a:pt x="100" y="200"/>
                  <a:pt x="100" y="200"/>
                </a:cubicBezTo>
                <a:cubicBezTo>
                  <a:pt x="100" y="200"/>
                  <a:pt x="100" y="200"/>
                  <a:pt x="100" y="200"/>
                </a:cubicBezTo>
                <a:cubicBezTo>
                  <a:pt x="155" y="200"/>
                  <a:pt x="200" y="155"/>
                  <a:pt x="200" y="100"/>
                </a:cubicBezTo>
                <a:cubicBezTo>
                  <a:pt x="200" y="44"/>
                  <a:pt x="155" y="0"/>
                  <a:pt x="100" y="0"/>
                </a:cubicBezTo>
                <a:close/>
                <a:moveTo>
                  <a:pt x="104" y="59"/>
                </a:moveTo>
                <a:cubicBezTo>
                  <a:pt x="115" y="59"/>
                  <a:pt x="125" y="58"/>
                  <a:pt x="135" y="55"/>
                </a:cubicBezTo>
                <a:cubicBezTo>
                  <a:pt x="138" y="67"/>
                  <a:pt x="140" y="81"/>
                  <a:pt x="140" y="96"/>
                </a:cubicBezTo>
                <a:cubicBezTo>
                  <a:pt x="104" y="96"/>
                  <a:pt x="104" y="96"/>
                  <a:pt x="104" y="96"/>
                </a:cubicBezTo>
                <a:lnTo>
                  <a:pt x="104" y="59"/>
                </a:lnTo>
                <a:close/>
                <a:moveTo>
                  <a:pt x="104" y="51"/>
                </a:moveTo>
                <a:cubicBezTo>
                  <a:pt x="104" y="8"/>
                  <a:pt x="104" y="8"/>
                  <a:pt x="104" y="8"/>
                </a:cubicBezTo>
                <a:cubicBezTo>
                  <a:pt x="115" y="11"/>
                  <a:pt x="126" y="26"/>
                  <a:pt x="133" y="48"/>
                </a:cubicBezTo>
                <a:cubicBezTo>
                  <a:pt x="123" y="50"/>
                  <a:pt x="114" y="51"/>
                  <a:pt x="104" y="51"/>
                </a:cubicBezTo>
                <a:close/>
                <a:moveTo>
                  <a:pt x="96" y="8"/>
                </a:moveTo>
                <a:cubicBezTo>
                  <a:pt x="96" y="51"/>
                  <a:pt x="96" y="51"/>
                  <a:pt x="96" y="51"/>
                </a:cubicBezTo>
                <a:cubicBezTo>
                  <a:pt x="86" y="51"/>
                  <a:pt x="76" y="50"/>
                  <a:pt x="67" y="48"/>
                </a:cubicBezTo>
                <a:cubicBezTo>
                  <a:pt x="74" y="25"/>
                  <a:pt x="85" y="11"/>
                  <a:pt x="96" y="8"/>
                </a:cubicBezTo>
                <a:close/>
                <a:moveTo>
                  <a:pt x="96" y="59"/>
                </a:moveTo>
                <a:cubicBezTo>
                  <a:pt x="96" y="96"/>
                  <a:pt x="96" y="96"/>
                  <a:pt x="96" y="96"/>
                </a:cubicBezTo>
                <a:cubicBezTo>
                  <a:pt x="60" y="96"/>
                  <a:pt x="60" y="96"/>
                  <a:pt x="60" y="96"/>
                </a:cubicBezTo>
                <a:cubicBezTo>
                  <a:pt x="60" y="81"/>
                  <a:pt x="62" y="67"/>
                  <a:pt x="65" y="55"/>
                </a:cubicBezTo>
                <a:cubicBezTo>
                  <a:pt x="75" y="58"/>
                  <a:pt x="85" y="59"/>
                  <a:pt x="96" y="59"/>
                </a:cubicBezTo>
                <a:close/>
                <a:moveTo>
                  <a:pt x="52" y="96"/>
                </a:moveTo>
                <a:cubicBezTo>
                  <a:pt x="8" y="96"/>
                  <a:pt x="8" y="96"/>
                  <a:pt x="8" y="96"/>
                </a:cubicBezTo>
                <a:cubicBezTo>
                  <a:pt x="9" y="75"/>
                  <a:pt x="17" y="56"/>
                  <a:pt x="29" y="41"/>
                </a:cubicBezTo>
                <a:cubicBezTo>
                  <a:pt x="38" y="46"/>
                  <a:pt x="47" y="50"/>
                  <a:pt x="57" y="53"/>
                </a:cubicBezTo>
                <a:cubicBezTo>
                  <a:pt x="54" y="66"/>
                  <a:pt x="52" y="80"/>
                  <a:pt x="52" y="96"/>
                </a:cubicBezTo>
                <a:close/>
                <a:moveTo>
                  <a:pt x="52" y="104"/>
                </a:moveTo>
                <a:cubicBezTo>
                  <a:pt x="52" y="119"/>
                  <a:pt x="54" y="133"/>
                  <a:pt x="57" y="146"/>
                </a:cubicBezTo>
                <a:cubicBezTo>
                  <a:pt x="47" y="149"/>
                  <a:pt x="38" y="153"/>
                  <a:pt x="29" y="158"/>
                </a:cubicBezTo>
                <a:cubicBezTo>
                  <a:pt x="17" y="143"/>
                  <a:pt x="9" y="124"/>
                  <a:pt x="8" y="104"/>
                </a:cubicBezTo>
                <a:lnTo>
                  <a:pt x="52" y="104"/>
                </a:lnTo>
                <a:close/>
                <a:moveTo>
                  <a:pt x="60" y="104"/>
                </a:moveTo>
                <a:cubicBezTo>
                  <a:pt x="96" y="104"/>
                  <a:pt x="96" y="104"/>
                  <a:pt x="96" y="104"/>
                </a:cubicBezTo>
                <a:cubicBezTo>
                  <a:pt x="96" y="140"/>
                  <a:pt x="96" y="140"/>
                  <a:pt x="96" y="140"/>
                </a:cubicBezTo>
                <a:cubicBezTo>
                  <a:pt x="85" y="140"/>
                  <a:pt x="75" y="141"/>
                  <a:pt x="65" y="144"/>
                </a:cubicBezTo>
                <a:cubicBezTo>
                  <a:pt x="62" y="132"/>
                  <a:pt x="60" y="118"/>
                  <a:pt x="60" y="104"/>
                </a:cubicBezTo>
                <a:close/>
                <a:moveTo>
                  <a:pt x="96" y="148"/>
                </a:moveTo>
                <a:cubicBezTo>
                  <a:pt x="96" y="191"/>
                  <a:pt x="96" y="191"/>
                  <a:pt x="96" y="191"/>
                </a:cubicBezTo>
                <a:cubicBezTo>
                  <a:pt x="85" y="188"/>
                  <a:pt x="74" y="174"/>
                  <a:pt x="67" y="152"/>
                </a:cubicBezTo>
                <a:cubicBezTo>
                  <a:pt x="76" y="149"/>
                  <a:pt x="86" y="148"/>
                  <a:pt x="96" y="148"/>
                </a:cubicBezTo>
                <a:close/>
                <a:moveTo>
                  <a:pt x="104" y="191"/>
                </a:moveTo>
                <a:cubicBezTo>
                  <a:pt x="104" y="148"/>
                  <a:pt x="104" y="148"/>
                  <a:pt x="104" y="148"/>
                </a:cubicBezTo>
                <a:cubicBezTo>
                  <a:pt x="114" y="148"/>
                  <a:pt x="123" y="149"/>
                  <a:pt x="133" y="152"/>
                </a:cubicBezTo>
                <a:cubicBezTo>
                  <a:pt x="126" y="174"/>
                  <a:pt x="115" y="188"/>
                  <a:pt x="104" y="191"/>
                </a:cubicBezTo>
                <a:close/>
                <a:moveTo>
                  <a:pt x="104" y="140"/>
                </a:moveTo>
                <a:cubicBezTo>
                  <a:pt x="104" y="104"/>
                  <a:pt x="104" y="104"/>
                  <a:pt x="104" y="104"/>
                </a:cubicBezTo>
                <a:cubicBezTo>
                  <a:pt x="140" y="104"/>
                  <a:pt x="140" y="104"/>
                  <a:pt x="140" y="104"/>
                </a:cubicBezTo>
                <a:cubicBezTo>
                  <a:pt x="140" y="118"/>
                  <a:pt x="138" y="132"/>
                  <a:pt x="135" y="144"/>
                </a:cubicBezTo>
                <a:cubicBezTo>
                  <a:pt x="125" y="141"/>
                  <a:pt x="115" y="140"/>
                  <a:pt x="104" y="140"/>
                </a:cubicBezTo>
                <a:close/>
                <a:moveTo>
                  <a:pt x="148" y="104"/>
                </a:moveTo>
                <a:cubicBezTo>
                  <a:pt x="192" y="104"/>
                  <a:pt x="192" y="104"/>
                  <a:pt x="192" y="104"/>
                </a:cubicBezTo>
                <a:cubicBezTo>
                  <a:pt x="191" y="124"/>
                  <a:pt x="183" y="143"/>
                  <a:pt x="171" y="158"/>
                </a:cubicBezTo>
                <a:cubicBezTo>
                  <a:pt x="162" y="153"/>
                  <a:pt x="153" y="149"/>
                  <a:pt x="143" y="146"/>
                </a:cubicBezTo>
                <a:cubicBezTo>
                  <a:pt x="146" y="133"/>
                  <a:pt x="148" y="119"/>
                  <a:pt x="148" y="104"/>
                </a:cubicBezTo>
                <a:close/>
                <a:moveTo>
                  <a:pt x="148" y="96"/>
                </a:moveTo>
                <a:cubicBezTo>
                  <a:pt x="148" y="80"/>
                  <a:pt x="146" y="66"/>
                  <a:pt x="143" y="53"/>
                </a:cubicBezTo>
                <a:cubicBezTo>
                  <a:pt x="153" y="50"/>
                  <a:pt x="162" y="46"/>
                  <a:pt x="171" y="41"/>
                </a:cubicBezTo>
                <a:cubicBezTo>
                  <a:pt x="183" y="56"/>
                  <a:pt x="191" y="75"/>
                  <a:pt x="192" y="96"/>
                </a:cubicBezTo>
                <a:lnTo>
                  <a:pt x="148" y="96"/>
                </a:lnTo>
                <a:close/>
                <a:moveTo>
                  <a:pt x="166" y="35"/>
                </a:moveTo>
                <a:cubicBezTo>
                  <a:pt x="158" y="39"/>
                  <a:pt x="149" y="43"/>
                  <a:pt x="140" y="46"/>
                </a:cubicBezTo>
                <a:cubicBezTo>
                  <a:pt x="136" y="30"/>
                  <a:pt x="129" y="18"/>
                  <a:pt x="121" y="10"/>
                </a:cubicBezTo>
                <a:cubicBezTo>
                  <a:pt x="138" y="14"/>
                  <a:pt x="154" y="23"/>
                  <a:pt x="166" y="35"/>
                </a:cubicBezTo>
                <a:close/>
                <a:moveTo>
                  <a:pt x="78" y="10"/>
                </a:moveTo>
                <a:cubicBezTo>
                  <a:pt x="71" y="18"/>
                  <a:pt x="64" y="30"/>
                  <a:pt x="59" y="45"/>
                </a:cubicBezTo>
                <a:cubicBezTo>
                  <a:pt x="51" y="43"/>
                  <a:pt x="42" y="39"/>
                  <a:pt x="34" y="35"/>
                </a:cubicBezTo>
                <a:cubicBezTo>
                  <a:pt x="46" y="23"/>
                  <a:pt x="61" y="14"/>
                  <a:pt x="78" y="10"/>
                </a:cubicBezTo>
                <a:close/>
                <a:moveTo>
                  <a:pt x="34" y="164"/>
                </a:moveTo>
                <a:cubicBezTo>
                  <a:pt x="42" y="160"/>
                  <a:pt x="51" y="156"/>
                  <a:pt x="59" y="154"/>
                </a:cubicBezTo>
                <a:cubicBezTo>
                  <a:pt x="64" y="169"/>
                  <a:pt x="71" y="181"/>
                  <a:pt x="78" y="189"/>
                </a:cubicBezTo>
                <a:cubicBezTo>
                  <a:pt x="61" y="185"/>
                  <a:pt x="46" y="176"/>
                  <a:pt x="34" y="164"/>
                </a:cubicBezTo>
                <a:close/>
                <a:moveTo>
                  <a:pt x="121" y="189"/>
                </a:moveTo>
                <a:cubicBezTo>
                  <a:pt x="129" y="181"/>
                  <a:pt x="136" y="169"/>
                  <a:pt x="140" y="154"/>
                </a:cubicBezTo>
                <a:cubicBezTo>
                  <a:pt x="149" y="156"/>
                  <a:pt x="158" y="160"/>
                  <a:pt x="166" y="164"/>
                </a:cubicBezTo>
                <a:cubicBezTo>
                  <a:pt x="154" y="176"/>
                  <a:pt x="138" y="185"/>
                  <a:pt x="121" y="189"/>
                </a:cubicBezTo>
                <a:close/>
              </a:path>
            </a:pathLst>
          </a:custGeom>
          <a:solidFill>
            <a:schemeClr val="bg1"/>
          </a:solidFill>
          <a:ln w="12700">
            <a:solidFill>
              <a:schemeClr val="bg2"/>
            </a:solidFill>
          </a:ln>
        </p:spPr>
        <p:txBody>
          <a:bodyPr vert="horz" wrap="square" lIns="45732" tIns="22866" rIns="45732" bIns="22866" numCol="1" anchor="t" anchorCtr="0" compatLnSpc="1">
            <a:prstTxWarp prst="textNoShape">
              <a:avLst/>
            </a:prstTxWarp>
          </a:bodyPr>
          <a:lstStyle/>
          <a:p>
            <a:endParaRPr lang="en-US" sz="1801" dirty="0">
              <a:latin typeface="Raleway Light" panose="020B0403030101060003" pitchFamily="34" charset="77"/>
            </a:endParaRPr>
          </a:p>
        </p:txBody>
      </p:sp>
      <p:sp>
        <p:nvSpPr>
          <p:cNvPr id="39" name="Text Placeholder 7">
            <a:extLst>
              <a:ext uri="{FF2B5EF4-FFF2-40B4-BE49-F238E27FC236}">
                <a16:creationId xmlns:a16="http://schemas.microsoft.com/office/drawing/2014/main" id="{1D061BAC-C8D3-CE40-9A2C-2157A09B6A5A}"/>
              </a:ext>
            </a:extLst>
          </p:cNvPr>
          <p:cNvSpPr>
            <a:spLocks noGrp="1"/>
          </p:cNvSpPr>
          <p:nvPr>
            <p:ph type="body" sz="quarter" idx="14" hasCustomPrompt="1"/>
          </p:nvPr>
        </p:nvSpPr>
        <p:spPr>
          <a:xfrm>
            <a:off x="908050" y="1069464"/>
            <a:ext cx="6611638" cy="604301"/>
          </a:xfrm>
          <a:prstGeom prst="rect">
            <a:avLst/>
          </a:prstGeom>
        </p:spPr>
        <p:txBody>
          <a:bodyPr>
            <a:noAutofit/>
          </a:bodyPr>
          <a:lstStyle>
            <a:lvl1pPr marL="0" indent="0">
              <a:buNone/>
              <a:defRPr sz="4800" b="1">
                <a:solidFill>
                  <a:schemeClr val="bg1"/>
                </a:solidFill>
              </a:defRPr>
            </a:lvl1pPr>
          </a:lstStyle>
          <a:p>
            <a:r>
              <a:rPr lang="en-US" dirty="0"/>
              <a:t>Thank You!</a:t>
            </a:r>
          </a:p>
        </p:txBody>
      </p:sp>
      <p:pic>
        <p:nvPicPr>
          <p:cNvPr id="31" name="Picture 30">
            <a:extLst>
              <a:ext uri="{FF2B5EF4-FFF2-40B4-BE49-F238E27FC236}">
                <a16:creationId xmlns:a16="http://schemas.microsoft.com/office/drawing/2014/main" id="{2B08C55C-D0CF-724B-B4EE-8E072E7B5C03}"/>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96546" y="299377"/>
            <a:ext cx="1288232" cy="1288232"/>
          </a:xfrm>
          <a:prstGeom prst="rect">
            <a:avLst/>
          </a:prstGeom>
        </p:spPr>
      </p:pic>
    </p:spTree>
    <p:extLst>
      <p:ext uri="{BB962C8B-B14F-4D97-AF65-F5344CB8AC3E}">
        <p14:creationId xmlns:p14="http://schemas.microsoft.com/office/powerpoint/2010/main" val="2742678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Cover Option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08265" y="1069465"/>
            <a:ext cx="3601587" cy="712893"/>
          </a:xfrm>
        </p:spPr>
        <p:txBody>
          <a:bodyPr>
            <a:normAutofit/>
          </a:bodyPr>
          <a:lstStyle>
            <a:lvl1pPr algn="l">
              <a:defRPr sz="5067" b="1">
                <a:solidFill>
                  <a:schemeClr val="bg1"/>
                </a:solidFill>
                <a:latin typeface="+mn-lt"/>
              </a:defRPr>
            </a:lvl1pPr>
          </a:lstStyle>
          <a:p>
            <a:r>
              <a:rPr lang="en-US" dirty="0"/>
              <a:t>Thank You!</a:t>
            </a:r>
          </a:p>
        </p:txBody>
      </p:sp>
      <p:sp>
        <p:nvSpPr>
          <p:cNvPr id="26" name="Trapezoid 5">
            <a:extLst>
              <a:ext uri="{FF2B5EF4-FFF2-40B4-BE49-F238E27FC236}">
                <a16:creationId xmlns:a16="http://schemas.microsoft.com/office/drawing/2014/main" id="{72F83640-6433-1F4E-A2E6-8F9662D4DCDB}"/>
              </a:ext>
            </a:extLst>
          </p:cNvPr>
          <p:cNvSpPr/>
          <p:nvPr userDrawn="1"/>
        </p:nvSpPr>
        <p:spPr>
          <a:xfrm rot="10800000">
            <a:off x="3992211" y="-11575"/>
            <a:ext cx="5744051" cy="6869576"/>
          </a:xfrm>
          <a:custGeom>
            <a:avLst/>
            <a:gdLst>
              <a:gd name="connsiteX0" fmla="*/ 0 w 9601200"/>
              <a:gd name="connsiteY0" fmla="*/ 6869576 h 6869576"/>
              <a:gd name="connsiteX1" fmla="*/ 1717394 w 9601200"/>
              <a:gd name="connsiteY1" fmla="*/ 0 h 6869576"/>
              <a:gd name="connsiteX2" fmla="*/ 7883806 w 9601200"/>
              <a:gd name="connsiteY2" fmla="*/ 0 h 6869576"/>
              <a:gd name="connsiteX3" fmla="*/ 9601200 w 9601200"/>
              <a:gd name="connsiteY3" fmla="*/ 6869576 h 6869576"/>
              <a:gd name="connsiteX4" fmla="*/ 0 w 9601200"/>
              <a:gd name="connsiteY4" fmla="*/ 6869576 h 6869576"/>
              <a:gd name="connsiteX0" fmla="*/ 0 w 9611006"/>
              <a:gd name="connsiteY0" fmla="*/ 6869576 h 6869576"/>
              <a:gd name="connsiteX1" fmla="*/ 1717394 w 9611006"/>
              <a:gd name="connsiteY1" fmla="*/ 0 h 6869576"/>
              <a:gd name="connsiteX2" fmla="*/ 9611006 w 9611006"/>
              <a:gd name="connsiteY2" fmla="*/ 0 h 6869576"/>
              <a:gd name="connsiteX3" fmla="*/ 9601200 w 9611006"/>
              <a:gd name="connsiteY3" fmla="*/ 6869576 h 6869576"/>
              <a:gd name="connsiteX4" fmla="*/ 0 w 9611006"/>
              <a:gd name="connsiteY4" fmla="*/ 6869576 h 6869576"/>
              <a:gd name="connsiteX0" fmla="*/ 0 w 9611006"/>
              <a:gd name="connsiteY0" fmla="*/ 6869576 h 6869576"/>
              <a:gd name="connsiteX1" fmla="*/ 777594 w 9611006"/>
              <a:gd name="connsiteY1" fmla="*/ 0 h 6869576"/>
              <a:gd name="connsiteX2" fmla="*/ 9611006 w 9611006"/>
              <a:gd name="connsiteY2" fmla="*/ 0 h 6869576"/>
              <a:gd name="connsiteX3" fmla="*/ 9601200 w 9611006"/>
              <a:gd name="connsiteY3" fmla="*/ 6869576 h 6869576"/>
              <a:gd name="connsiteX4" fmla="*/ 0 w 9611006"/>
              <a:gd name="connsiteY4" fmla="*/ 6869576 h 6869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11006" h="6869576">
                <a:moveTo>
                  <a:pt x="0" y="6869576"/>
                </a:moveTo>
                <a:lnTo>
                  <a:pt x="777594" y="0"/>
                </a:lnTo>
                <a:lnTo>
                  <a:pt x="9611006" y="0"/>
                </a:lnTo>
                <a:cubicBezTo>
                  <a:pt x="9607737" y="2289859"/>
                  <a:pt x="9604469" y="4579717"/>
                  <a:pt x="9601200" y="6869576"/>
                </a:cubicBezTo>
                <a:lnTo>
                  <a:pt x="0" y="6869576"/>
                </a:lnTo>
                <a:close/>
              </a:path>
            </a:pathLst>
          </a:custGeom>
          <a:solidFill>
            <a:srgbClr val="97DF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rapezoid 5">
            <a:extLst>
              <a:ext uri="{FF2B5EF4-FFF2-40B4-BE49-F238E27FC236}">
                <a16:creationId xmlns:a16="http://schemas.microsoft.com/office/drawing/2014/main" id="{A93719EF-6C3A-6E44-9C2A-9C731ECE8637}"/>
              </a:ext>
            </a:extLst>
          </p:cNvPr>
          <p:cNvSpPr/>
          <p:nvPr userDrawn="1"/>
        </p:nvSpPr>
        <p:spPr>
          <a:xfrm rot="10800000">
            <a:off x="-15798" y="-11576"/>
            <a:ext cx="9743998" cy="6869576"/>
          </a:xfrm>
          <a:custGeom>
            <a:avLst/>
            <a:gdLst>
              <a:gd name="connsiteX0" fmla="*/ 0 w 9601200"/>
              <a:gd name="connsiteY0" fmla="*/ 6869576 h 6869576"/>
              <a:gd name="connsiteX1" fmla="*/ 1717394 w 9601200"/>
              <a:gd name="connsiteY1" fmla="*/ 0 h 6869576"/>
              <a:gd name="connsiteX2" fmla="*/ 7883806 w 9601200"/>
              <a:gd name="connsiteY2" fmla="*/ 0 h 6869576"/>
              <a:gd name="connsiteX3" fmla="*/ 9601200 w 9601200"/>
              <a:gd name="connsiteY3" fmla="*/ 6869576 h 6869576"/>
              <a:gd name="connsiteX4" fmla="*/ 0 w 9601200"/>
              <a:gd name="connsiteY4" fmla="*/ 6869576 h 6869576"/>
              <a:gd name="connsiteX0" fmla="*/ 0 w 9611006"/>
              <a:gd name="connsiteY0" fmla="*/ 6869576 h 6869576"/>
              <a:gd name="connsiteX1" fmla="*/ 1717394 w 9611006"/>
              <a:gd name="connsiteY1" fmla="*/ 0 h 6869576"/>
              <a:gd name="connsiteX2" fmla="*/ 9611006 w 9611006"/>
              <a:gd name="connsiteY2" fmla="*/ 0 h 6869576"/>
              <a:gd name="connsiteX3" fmla="*/ 9601200 w 9611006"/>
              <a:gd name="connsiteY3" fmla="*/ 6869576 h 6869576"/>
              <a:gd name="connsiteX4" fmla="*/ 0 w 9611006"/>
              <a:gd name="connsiteY4" fmla="*/ 6869576 h 6869576"/>
              <a:gd name="connsiteX0" fmla="*/ 0 w 9611006"/>
              <a:gd name="connsiteY0" fmla="*/ 6869576 h 6869576"/>
              <a:gd name="connsiteX1" fmla="*/ 777594 w 9611006"/>
              <a:gd name="connsiteY1" fmla="*/ 0 h 6869576"/>
              <a:gd name="connsiteX2" fmla="*/ 9611006 w 9611006"/>
              <a:gd name="connsiteY2" fmla="*/ 0 h 6869576"/>
              <a:gd name="connsiteX3" fmla="*/ 9601200 w 9611006"/>
              <a:gd name="connsiteY3" fmla="*/ 6869576 h 6869576"/>
              <a:gd name="connsiteX4" fmla="*/ 0 w 9611006"/>
              <a:gd name="connsiteY4" fmla="*/ 6869576 h 6869576"/>
              <a:gd name="connsiteX0" fmla="*/ 0 w 9638997"/>
              <a:gd name="connsiteY0" fmla="*/ 6869576 h 6869576"/>
              <a:gd name="connsiteX1" fmla="*/ 777594 w 9638997"/>
              <a:gd name="connsiteY1" fmla="*/ 0 h 6869576"/>
              <a:gd name="connsiteX2" fmla="*/ 9611006 w 9638997"/>
              <a:gd name="connsiteY2" fmla="*/ 0 h 6869576"/>
              <a:gd name="connsiteX3" fmla="*/ 9638778 w 9638997"/>
              <a:gd name="connsiteY3" fmla="*/ 6869576 h 6869576"/>
              <a:gd name="connsiteX4" fmla="*/ 0 w 9638997"/>
              <a:gd name="connsiteY4" fmla="*/ 6869576 h 6869576"/>
              <a:gd name="connsiteX0" fmla="*/ 0 w 9626587"/>
              <a:gd name="connsiteY0" fmla="*/ 6869576 h 6869576"/>
              <a:gd name="connsiteX1" fmla="*/ 777594 w 9626587"/>
              <a:gd name="connsiteY1" fmla="*/ 0 h 6869576"/>
              <a:gd name="connsiteX2" fmla="*/ 9611006 w 9626587"/>
              <a:gd name="connsiteY2" fmla="*/ 0 h 6869576"/>
              <a:gd name="connsiteX3" fmla="*/ 9626252 w 9626587"/>
              <a:gd name="connsiteY3" fmla="*/ 6869576 h 6869576"/>
              <a:gd name="connsiteX4" fmla="*/ 0 w 9626587"/>
              <a:gd name="connsiteY4" fmla="*/ 6869576 h 6869576"/>
              <a:gd name="connsiteX0" fmla="*/ 0 w 9611006"/>
              <a:gd name="connsiteY0" fmla="*/ 6869576 h 6869576"/>
              <a:gd name="connsiteX1" fmla="*/ 777594 w 9611006"/>
              <a:gd name="connsiteY1" fmla="*/ 0 h 6869576"/>
              <a:gd name="connsiteX2" fmla="*/ 9611006 w 9611006"/>
              <a:gd name="connsiteY2" fmla="*/ 0 h 6869576"/>
              <a:gd name="connsiteX3" fmla="*/ 9588675 w 9611006"/>
              <a:gd name="connsiteY3" fmla="*/ 6856876 h 6869576"/>
              <a:gd name="connsiteX4" fmla="*/ 0 w 9611006"/>
              <a:gd name="connsiteY4" fmla="*/ 6869576 h 6869576"/>
              <a:gd name="connsiteX0" fmla="*/ 0 w 9626587"/>
              <a:gd name="connsiteY0" fmla="*/ 6869576 h 6869576"/>
              <a:gd name="connsiteX1" fmla="*/ 777594 w 9626587"/>
              <a:gd name="connsiteY1" fmla="*/ 0 h 6869576"/>
              <a:gd name="connsiteX2" fmla="*/ 9611006 w 9626587"/>
              <a:gd name="connsiteY2" fmla="*/ 0 h 6869576"/>
              <a:gd name="connsiteX3" fmla="*/ 9626252 w 9626587"/>
              <a:gd name="connsiteY3" fmla="*/ 6856876 h 6869576"/>
              <a:gd name="connsiteX4" fmla="*/ 0 w 9626587"/>
              <a:gd name="connsiteY4" fmla="*/ 6869576 h 6869576"/>
              <a:gd name="connsiteX0" fmla="*/ 0 w 9626587"/>
              <a:gd name="connsiteY0" fmla="*/ 6869576 h 6882276"/>
              <a:gd name="connsiteX1" fmla="*/ 777594 w 9626587"/>
              <a:gd name="connsiteY1" fmla="*/ 0 h 6882276"/>
              <a:gd name="connsiteX2" fmla="*/ 9611006 w 9626587"/>
              <a:gd name="connsiteY2" fmla="*/ 0 h 6882276"/>
              <a:gd name="connsiteX3" fmla="*/ 9626252 w 9626587"/>
              <a:gd name="connsiteY3" fmla="*/ 6882276 h 6882276"/>
              <a:gd name="connsiteX4" fmla="*/ 0 w 9626587"/>
              <a:gd name="connsiteY4" fmla="*/ 6869576 h 6882276"/>
              <a:gd name="connsiteX0" fmla="*/ 0 w 9626587"/>
              <a:gd name="connsiteY0" fmla="*/ 6869576 h 6869576"/>
              <a:gd name="connsiteX1" fmla="*/ 777594 w 9626587"/>
              <a:gd name="connsiteY1" fmla="*/ 0 h 6869576"/>
              <a:gd name="connsiteX2" fmla="*/ 9611006 w 9626587"/>
              <a:gd name="connsiteY2" fmla="*/ 0 h 6869576"/>
              <a:gd name="connsiteX3" fmla="*/ 9626252 w 9626587"/>
              <a:gd name="connsiteY3" fmla="*/ 6844176 h 6869576"/>
              <a:gd name="connsiteX4" fmla="*/ 0 w 9626587"/>
              <a:gd name="connsiteY4" fmla="*/ 6869576 h 6869576"/>
              <a:gd name="connsiteX0" fmla="*/ 0 w 9626587"/>
              <a:gd name="connsiteY0" fmla="*/ 6869576 h 6869576"/>
              <a:gd name="connsiteX1" fmla="*/ 777594 w 9626587"/>
              <a:gd name="connsiteY1" fmla="*/ 0 h 6869576"/>
              <a:gd name="connsiteX2" fmla="*/ 9611006 w 9626587"/>
              <a:gd name="connsiteY2" fmla="*/ 0 h 6869576"/>
              <a:gd name="connsiteX3" fmla="*/ 9626252 w 9626587"/>
              <a:gd name="connsiteY3" fmla="*/ 6856876 h 6869576"/>
              <a:gd name="connsiteX4" fmla="*/ 0 w 9626587"/>
              <a:gd name="connsiteY4" fmla="*/ 6869576 h 6869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6587" h="6869576">
                <a:moveTo>
                  <a:pt x="0" y="6869576"/>
                </a:moveTo>
                <a:lnTo>
                  <a:pt x="777594" y="0"/>
                </a:lnTo>
                <a:lnTo>
                  <a:pt x="9611006" y="0"/>
                </a:lnTo>
                <a:cubicBezTo>
                  <a:pt x="9607737" y="2289859"/>
                  <a:pt x="9629521" y="4567017"/>
                  <a:pt x="9626252" y="6856876"/>
                </a:cubicBezTo>
                <a:lnTo>
                  <a:pt x="0" y="6869576"/>
                </a:lnTo>
                <a:close/>
              </a:path>
            </a:pathLst>
          </a:custGeom>
          <a:gradFill>
            <a:gsLst>
              <a:gs pos="0">
                <a:srgbClr val="265088"/>
              </a:gs>
              <a:gs pos="100000">
                <a:srgbClr val="00B8B0"/>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a:xfrm>
            <a:off x="908265" y="1941948"/>
            <a:ext cx="6611424" cy="505732"/>
          </a:xfrm>
          <a:prstGeom prst="rect">
            <a:avLst/>
          </a:prstGeom>
        </p:spPr>
        <p:txBody>
          <a:bodyPr>
            <a:noAutofit/>
          </a:bodyPr>
          <a:lstStyle>
            <a:lvl1pPr marL="0" indent="0" algn="l">
              <a:buNone/>
              <a:defRPr sz="2800" b="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Name</a:t>
            </a:r>
          </a:p>
        </p:txBody>
      </p:sp>
      <p:sp>
        <p:nvSpPr>
          <p:cNvPr id="4" name="TextBox 3"/>
          <p:cNvSpPr txBox="1"/>
          <p:nvPr userDrawn="1"/>
        </p:nvSpPr>
        <p:spPr>
          <a:xfrm>
            <a:off x="857301" y="5935507"/>
            <a:ext cx="9652000" cy="707886"/>
          </a:xfrm>
          <a:prstGeom prst="rect">
            <a:avLst/>
          </a:prstGeom>
          <a:noFill/>
        </p:spPr>
        <p:txBody>
          <a:bodyPr wrap="square" rtlCol="0">
            <a:spAutoFit/>
          </a:bodyPr>
          <a:lstStyle/>
          <a:p>
            <a:r>
              <a:rPr lang="en-US" sz="1000" kern="1200" dirty="0">
                <a:solidFill>
                  <a:schemeClr val="bg1"/>
                </a:solidFill>
                <a:effectLst/>
                <a:latin typeface="+mn-lt"/>
                <a:ea typeface="+mn-ea"/>
                <a:cs typeface="+mn-cs"/>
              </a:rPr>
              <a:t>Source: 2021 STR, LLC / STR Global, Ltd. trading as "STR". © CoStar Realty Information, Inc.  </a:t>
            </a:r>
            <a:br>
              <a:rPr lang="en-US" sz="1000" kern="1200" dirty="0">
                <a:solidFill>
                  <a:schemeClr val="bg1"/>
                </a:solidFill>
                <a:effectLst/>
                <a:latin typeface="+mn-lt"/>
                <a:ea typeface="+mn-ea"/>
                <a:cs typeface="+mn-cs"/>
              </a:rPr>
            </a:br>
            <a:r>
              <a:rPr lang="en-US" sz="1000" kern="1200" dirty="0">
                <a:solidFill>
                  <a:schemeClr val="bg1"/>
                </a:solidFill>
                <a:effectLst/>
                <a:latin typeface="+mn-lt"/>
                <a:ea typeface="+mn-ea"/>
                <a:cs typeface="+mn-cs"/>
              </a:rPr>
              <a:t>Any reprint, use or republication of all or a part of this presentation without the prior written approval of STR is strictly prohibited.  </a:t>
            </a:r>
            <a:br>
              <a:rPr lang="en-US" sz="1000" kern="1200" dirty="0">
                <a:solidFill>
                  <a:schemeClr val="bg1"/>
                </a:solidFill>
                <a:effectLst/>
                <a:latin typeface="+mn-lt"/>
                <a:ea typeface="+mn-ea"/>
                <a:cs typeface="+mn-cs"/>
              </a:rPr>
            </a:br>
            <a:r>
              <a:rPr lang="en-US" sz="1000" kern="1200" dirty="0">
                <a:solidFill>
                  <a:schemeClr val="bg1"/>
                </a:solidFill>
                <a:effectLst/>
                <a:latin typeface="+mn-lt"/>
                <a:ea typeface="+mn-ea"/>
                <a:cs typeface="+mn-cs"/>
              </a:rPr>
              <a:t>Any such reproduction shall specifically credit STR as the source.  This presentation is based on data collected by STR.  </a:t>
            </a:r>
            <a:br>
              <a:rPr lang="en-US" sz="1000" kern="1200" dirty="0">
                <a:solidFill>
                  <a:schemeClr val="bg1"/>
                </a:solidFill>
                <a:effectLst/>
                <a:latin typeface="+mn-lt"/>
                <a:ea typeface="+mn-ea"/>
                <a:cs typeface="+mn-cs"/>
              </a:rPr>
            </a:br>
            <a:r>
              <a:rPr lang="en-US" sz="1000" kern="1200" dirty="0">
                <a:solidFill>
                  <a:schemeClr val="bg1"/>
                </a:solidFill>
                <a:effectLst/>
                <a:latin typeface="+mn-lt"/>
                <a:ea typeface="+mn-ea"/>
                <a:cs typeface="+mn-cs"/>
              </a:rPr>
              <a:t>The information in the presentation should not be construed as investment, tax, accounting or legal advice.</a:t>
            </a:r>
          </a:p>
        </p:txBody>
      </p:sp>
      <p:pic>
        <p:nvPicPr>
          <p:cNvPr id="16" name="Picture 15">
            <a:extLst>
              <a:ext uri="{FF2B5EF4-FFF2-40B4-BE49-F238E27FC236}">
                <a16:creationId xmlns:a16="http://schemas.microsoft.com/office/drawing/2014/main" id="{14592B15-A237-214C-856C-E7D8FD041EA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198" y="5254960"/>
            <a:ext cx="641595" cy="528406"/>
          </a:xfrm>
          <a:prstGeom prst="rect">
            <a:avLst/>
          </a:prstGeom>
        </p:spPr>
      </p:pic>
      <p:pic>
        <p:nvPicPr>
          <p:cNvPr id="17" name="Picture 16">
            <a:extLst>
              <a:ext uri="{FF2B5EF4-FFF2-40B4-BE49-F238E27FC236}">
                <a16:creationId xmlns:a16="http://schemas.microsoft.com/office/drawing/2014/main" id="{4E09F4A4-DEE4-B34C-980E-86F8A802F27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61188" y="5260473"/>
            <a:ext cx="1688104" cy="517379"/>
          </a:xfrm>
          <a:prstGeom prst="rect">
            <a:avLst/>
          </a:prstGeom>
        </p:spPr>
      </p:pic>
      <p:pic>
        <p:nvPicPr>
          <p:cNvPr id="24" name="Picture 23">
            <a:extLst>
              <a:ext uri="{FF2B5EF4-FFF2-40B4-BE49-F238E27FC236}">
                <a16:creationId xmlns:a16="http://schemas.microsoft.com/office/drawing/2014/main" id="{C8BE4B5C-9243-034A-9A5B-299FF4EE46B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49565" y="209082"/>
            <a:ext cx="1259664" cy="1259664"/>
          </a:xfrm>
          <a:prstGeom prst="rect">
            <a:avLst/>
          </a:prstGeom>
        </p:spPr>
      </p:pic>
      <p:sp>
        <p:nvSpPr>
          <p:cNvPr id="28" name="Text Placeholder 27">
            <a:extLst>
              <a:ext uri="{FF2B5EF4-FFF2-40B4-BE49-F238E27FC236}">
                <a16:creationId xmlns:a16="http://schemas.microsoft.com/office/drawing/2014/main" id="{613233A7-B7CC-1341-B559-6120252D8B7A}"/>
              </a:ext>
            </a:extLst>
          </p:cNvPr>
          <p:cNvSpPr>
            <a:spLocks noGrp="1"/>
          </p:cNvSpPr>
          <p:nvPr>
            <p:ph type="body" sz="quarter" idx="10" hasCustomPrompt="1"/>
          </p:nvPr>
        </p:nvSpPr>
        <p:spPr>
          <a:xfrm>
            <a:off x="908085" y="2479579"/>
            <a:ext cx="6611603" cy="433551"/>
          </a:xfrm>
          <a:prstGeom prst="rect">
            <a:avLst/>
          </a:prstGeom>
        </p:spPr>
        <p:txBody>
          <a:bodyPr>
            <a:noAutofit/>
          </a:bodyPr>
          <a:lstStyle>
            <a:lvl1pPr marL="0" indent="0">
              <a:buNone/>
              <a:defRPr sz="2000">
                <a:solidFill>
                  <a:schemeClr val="bg1"/>
                </a:solidFill>
              </a:defRPr>
            </a:lvl1pPr>
          </a:lstStyle>
          <a:p>
            <a:pPr lvl="0"/>
            <a:r>
              <a:rPr lang="en-US" dirty="0"/>
              <a:t>Title</a:t>
            </a:r>
          </a:p>
        </p:txBody>
      </p:sp>
      <p:sp>
        <p:nvSpPr>
          <p:cNvPr id="11" name="TextBox 10">
            <a:extLst>
              <a:ext uri="{FF2B5EF4-FFF2-40B4-BE49-F238E27FC236}">
                <a16:creationId xmlns:a16="http://schemas.microsoft.com/office/drawing/2014/main" id="{1BD3E64A-1EE5-6A41-BA58-89EF828D48F2}"/>
              </a:ext>
            </a:extLst>
          </p:cNvPr>
          <p:cNvSpPr txBox="1"/>
          <p:nvPr userDrawn="1"/>
        </p:nvSpPr>
        <p:spPr>
          <a:xfrm>
            <a:off x="8646289" y="4988689"/>
            <a:ext cx="184731" cy="369332"/>
          </a:xfrm>
          <a:prstGeom prst="rect">
            <a:avLst/>
          </a:prstGeom>
          <a:noFill/>
        </p:spPr>
        <p:txBody>
          <a:bodyPr wrap="none" rtlCol="0">
            <a:spAutoFit/>
          </a:bodyPr>
          <a:lstStyle/>
          <a:p>
            <a:endParaRPr lang="en-US" dirty="0"/>
          </a:p>
        </p:txBody>
      </p:sp>
      <p:sp>
        <p:nvSpPr>
          <p:cNvPr id="29" name="Shape 2836">
            <a:extLst>
              <a:ext uri="{FF2B5EF4-FFF2-40B4-BE49-F238E27FC236}">
                <a16:creationId xmlns:a16="http://schemas.microsoft.com/office/drawing/2014/main" id="{33C5A4CA-0991-2143-90DE-708BA1699339}"/>
              </a:ext>
            </a:extLst>
          </p:cNvPr>
          <p:cNvSpPr/>
          <p:nvPr userDrawn="1"/>
        </p:nvSpPr>
        <p:spPr>
          <a:xfrm>
            <a:off x="3291303" y="3493803"/>
            <a:ext cx="553695" cy="402688"/>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2"/>
                  <a:pt x="19964" y="1433"/>
                </a:cubicBezTo>
                <a:lnTo>
                  <a:pt x="11465" y="13118"/>
                </a:lnTo>
                <a:cubicBezTo>
                  <a:pt x="11288" y="13362"/>
                  <a:pt x="11051" y="13497"/>
                  <a:pt x="10800" y="13497"/>
                </a:cubicBezTo>
                <a:cubicBezTo>
                  <a:pt x="10549" y="13497"/>
                  <a:pt x="10312" y="13362"/>
                  <a:pt x="10134" y="13118"/>
                </a:cubicBezTo>
                <a:lnTo>
                  <a:pt x="1637" y="1433"/>
                </a:lnTo>
                <a:cubicBezTo>
                  <a:pt x="1739" y="1382"/>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chemeClr val="bg1"/>
          </a:solidFill>
          <a:ln w="12700">
            <a:noFill/>
            <a:miter lim="400000"/>
          </a:ln>
        </p:spPr>
        <p:txBody>
          <a:bodyPr lIns="19050" tIns="19050" rIns="19050" bIns="19050" anchor="ctr"/>
          <a:lstStyle/>
          <a:p>
            <a:pPr defTabSz="22860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solidFill>
                <a:schemeClr val="bg1"/>
              </a:solidFill>
              <a:latin typeface="Open Sans Semibold" charset="0"/>
              <a:ea typeface="Open Sans Semibold" charset="0"/>
              <a:cs typeface="Open Sans Semibold" charset="0"/>
            </a:endParaRPr>
          </a:p>
        </p:txBody>
      </p:sp>
      <p:sp>
        <p:nvSpPr>
          <p:cNvPr id="30" name="Rectangle 29">
            <a:extLst>
              <a:ext uri="{FF2B5EF4-FFF2-40B4-BE49-F238E27FC236}">
                <a16:creationId xmlns:a16="http://schemas.microsoft.com/office/drawing/2014/main" id="{CD25656D-47A4-C741-9A80-E84B79ACC863}"/>
              </a:ext>
            </a:extLst>
          </p:cNvPr>
          <p:cNvSpPr/>
          <p:nvPr userDrawn="1"/>
        </p:nvSpPr>
        <p:spPr>
          <a:xfrm>
            <a:off x="908265" y="4110592"/>
            <a:ext cx="1273810" cy="338554"/>
          </a:xfrm>
          <a:prstGeom prst="rect">
            <a:avLst/>
          </a:prstGeom>
        </p:spPr>
        <p:txBody>
          <a:bodyPr wrap="none">
            <a:spAutoFit/>
          </a:bodyPr>
          <a:lstStyle/>
          <a:p>
            <a:pPr algn="ctr"/>
            <a:r>
              <a:rPr lang="en-US" sz="1600" dirty="0">
                <a:solidFill>
                  <a:schemeClr val="bg1"/>
                </a:solidFill>
                <a:latin typeface="Calibri" panose="020F0502020204030204" pitchFamily="34" charset="0"/>
                <a:ea typeface="Open Sans Light" panose="020B0306030504020204" pitchFamily="34" charset="0"/>
                <a:cs typeface="Calibri" panose="020F0502020204030204" pitchFamily="34" charset="0"/>
              </a:rPr>
              <a:t>www.str.com</a:t>
            </a:r>
          </a:p>
        </p:txBody>
      </p:sp>
      <p:sp>
        <p:nvSpPr>
          <p:cNvPr id="32" name="Freeform 54">
            <a:extLst>
              <a:ext uri="{FF2B5EF4-FFF2-40B4-BE49-F238E27FC236}">
                <a16:creationId xmlns:a16="http://schemas.microsoft.com/office/drawing/2014/main" id="{C5D627F8-B238-1A45-879B-528DE79B101D}"/>
              </a:ext>
            </a:extLst>
          </p:cNvPr>
          <p:cNvSpPr>
            <a:spLocks noEditPoints="1"/>
          </p:cNvSpPr>
          <p:nvPr userDrawn="1"/>
        </p:nvSpPr>
        <p:spPr bwMode="auto">
          <a:xfrm>
            <a:off x="1268322" y="3396597"/>
            <a:ext cx="553696" cy="553696"/>
          </a:xfrm>
          <a:custGeom>
            <a:avLst/>
            <a:gdLst>
              <a:gd name="T0" fmla="*/ 100 w 200"/>
              <a:gd name="T1" fmla="*/ 0 h 200"/>
              <a:gd name="T2" fmla="*/ 100 w 200"/>
              <a:gd name="T3" fmla="*/ 0 h 200"/>
              <a:gd name="T4" fmla="*/ 100 w 200"/>
              <a:gd name="T5" fmla="*/ 200 h 200"/>
              <a:gd name="T6" fmla="*/ 100 w 200"/>
              <a:gd name="T7" fmla="*/ 200 h 200"/>
              <a:gd name="T8" fmla="*/ 200 w 200"/>
              <a:gd name="T9" fmla="*/ 100 h 200"/>
              <a:gd name="T10" fmla="*/ 104 w 200"/>
              <a:gd name="T11" fmla="*/ 59 h 200"/>
              <a:gd name="T12" fmla="*/ 140 w 200"/>
              <a:gd name="T13" fmla="*/ 96 h 200"/>
              <a:gd name="T14" fmla="*/ 104 w 200"/>
              <a:gd name="T15" fmla="*/ 59 h 200"/>
              <a:gd name="T16" fmla="*/ 104 w 200"/>
              <a:gd name="T17" fmla="*/ 8 h 200"/>
              <a:gd name="T18" fmla="*/ 104 w 200"/>
              <a:gd name="T19" fmla="*/ 51 h 200"/>
              <a:gd name="T20" fmla="*/ 96 w 200"/>
              <a:gd name="T21" fmla="*/ 51 h 200"/>
              <a:gd name="T22" fmla="*/ 96 w 200"/>
              <a:gd name="T23" fmla="*/ 8 h 200"/>
              <a:gd name="T24" fmla="*/ 96 w 200"/>
              <a:gd name="T25" fmla="*/ 96 h 200"/>
              <a:gd name="T26" fmla="*/ 65 w 200"/>
              <a:gd name="T27" fmla="*/ 55 h 200"/>
              <a:gd name="T28" fmla="*/ 52 w 200"/>
              <a:gd name="T29" fmla="*/ 96 h 200"/>
              <a:gd name="T30" fmla="*/ 29 w 200"/>
              <a:gd name="T31" fmla="*/ 41 h 200"/>
              <a:gd name="T32" fmla="*/ 52 w 200"/>
              <a:gd name="T33" fmla="*/ 96 h 200"/>
              <a:gd name="T34" fmla="*/ 57 w 200"/>
              <a:gd name="T35" fmla="*/ 146 h 200"/>
              <a:gd name="T36" fmla="*/ 8 w 200"/>
              <a:gd name="T37" fmla="*/ 104 h 200"/>
              <a:gd name="T38" fmla="*/ 60 w 200"/>
              <a:gd name="T39" fmla="*/ 104 h 200"/>
              <a:gd name="T40" fmla="*/ 96 w 200"/>
              <a:gd name="T41" fmla="*/ 140 h 200"/>
              <a:gd name="T42" fmla="*/ 60 w 200"/>
              <a:gd name="T43" fmla="*/ 104 h 200"/>
              <a:gd name="T44" fmla="*/ 96 w 200"/>
              <a:gd name="T45" fmla="*/ 191 h 200"/>
              <a:gd name="T46" fmla="*/ 96 w 200"/>
              <a:gd name="T47" fmla="*/ 148 h 200"/>
              <a:gd name="T48" fmla="*/ 104 w 200"/>
              <a:gd name="T49" fmla="*/ 148 h 200"/>
              <a:gd name="T50" fmla="*/ 104 w 200"/>
              <a:gd name="T51" fmla="*/ 191 h 200"/>
              <a:gd name="T52" fmla="*/ 104 w 200"/>
              <a:gd name="T53" fmla="*/ 104 h 200"/>
              <a:gd name="T54" fmla="*/ 135 w 200"/>
              <a:gd name="T55" fmla="*/ 144 h 200"/>
              <a:gd name="T56" fmla="*/ 148 w 200"/>
              <a:gd name="T57" fmla="*/ 104 h 200"/>
              <a:gd name="T58" fmla="*/ 171 w 200"/>
              <a:gd name="T59" fmla="*/ 158 h 200"/>
              <a:gd name="T60" fmla="*/ 148 w 200"/>
              <a:gd name="T61" fmla="*/ 104 h 200"/>
              <a:gd name="T62" fmla="*/ 143 w 200"/>
              <a:gd name="T63" fmla="*/ 53 h 200"/>
              <a:gd name="T64" fmla="*/ 192 w 200"/>
              <a:gd name="T65" fmla="*/ 96 h 200"/>
              <a:gd name="T66" fmla="*/ 166 w 200"/>
              <a:gd name="T67" fmla="*/ 35 h 200"/>
              <a:gd name="T68" fmla="*/ 121 w 200"/>
              <a:gd name="T69" fmla="*/ 10 h 200"/>
              <a:gd name="T70" fmla="*/ 78 w 200"/>
              <a:gd name="T71" fmla="*/ 10 h 200"/>
              <a:gd name="T72" fmla="*/ 34 w 200"/>
              <a:gd name="T73" fmla="*/ 35 h 200"/>
              <a:gd name="T74" fmla="*/ 34 w 200"/>
              <a:gd name="T75" fmla="*/ 164 h 200"/>
              <a:gd name="T76" fmla="*/ 78 w 200"/>
              <a:gd name="T77" fmla="*/ 189 h 200"/>
              <a:gd name="T78" fmla="*/ 121 w 200"/>
              <a:gd name="T79" fmla="*/ 189 h 200"/>
              <a:gd name="T80" fmla="*/ 166 w 200"/>
              <a:gd name="T81" fmla="*/ 16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00">
                <a:moveTo>
                  <a:pt x="100" y="0"/>
                </a:moveTo>
                <a:cubicBezTo>
                  <a:pt x="100" y="0"/>
                  <a:pt x="100" y="0"/>
                  <a:pt x="100" y="0"/>
                </a:cubicBezTo>
                <a:cubicBezTo>
                  <a:pt x="100" y="0"/>
                  <a:pt x="100" y="0"/>
                  <a:pt x="100" y="0"/>
                </a:cubicBezTo>
                <a:cubicBezTo>
                  <a:pt x="100" y="0"/>
                  <a:pt x="100" y="0"/>
                  <a:pt x="100" y="0"/>
                </a:cubicBezTo>
                <a:cubicBezTo>
                  <a:pt x="45" y="0"/>
                  <a:pt x="0" y="44"/>
                  <a:pt x="0" y="100"/>
                </a:cubicBezTo>
                <a:cubicBezTo>
                  <a:pt x="0" y="155"/>
                  <a:pt x="45" y="199"/>
                  <a:pt x="100" y="200"/>
                </a:cubicBezTo>
                <a:cubicBezTo>
                  <a:pt x="100" y="200"/>
                  <a:pt x="100" y="200"/>
                  <a:pt x="100" y="200"/>
                </a:cubicBezTo>
                <a:cubicBezTo>
                  <a:pt x="100" y="200"/>
                  <a:pt x="100" y="200"/>
                  <a:pt x="100" y="200"/>
                </a:cubicBezTo>
                <a:cubicBezTo>
                  <a:pt x="100" y="200"/>
                  <a:pt x="100" y="200"/>
                  <a:pt x="100" y="200"/>
                </a:cubicBezTo>
                <a:cubicBezTo>
                  <a:pt x="155" y="200"/>
                  <a:pt x="200" y="155"/>
                  <a:pt x="200" y="100"/>
                </a:cubicBezTo>
                <a:cubicBezTo>
                  <a:pt x="200" y="44"/>
                  <a:pt x="155" y="0"/>
                  <a:pt x="100" y="0"/>
                </a:cubicBezTo>
                <a:close/>
                <a:moveTo>
                  <a:pt x="104" y="59"/>
                </a:moveTo>
                <a:cubicBezTo>
                  <a:pt x="115" y="59"/>
                  <a:pt x="125" y="58"/>
                  <a:pt x="135" y="55"/>
                </a:cubicBezTo>
                <a:cubicBezTo>
                  <a:pt x="138" y="67"/>
                  <a:pt x="140" y="81"/>
                  <a:pt x="140" y="96"/>
                </a:cubicBezTo>
                <a:cubicBezTo>
                  <a:pt x="104" y="96"/>
                  <a:pt x="104" y="96"/>
                  <a:pt x="104" y="96"/>
                </a:cubicBezTo>
                <a:lnTo>
                  <a:pt x="104" y="59"/>
                </a:lnTo>
                <a:close/>
                <a:moveTo>
                  <a:pt x="104" y="51"/>
                </a:moveTo>
                <a:cubicBezTo>
                  <a:pt x="104" y="8"/>
                  <a:pt x="104" y="8"/>
                  <a:pt x="104" y="8"/>
                </a:cubicBezTo>
                <a:cubicBezTo>
                  <a:pt x="115" y="11"/>
                  <a:pt x="126" y="26"/>
                  <a:pt x="133" y="48"/>
                </a:cubicBezTo>
                <a:cubicBezTo>
                  <a:pt x="123" y="50"/>
                  <a:pt x="114" y="51"/>
                  <a:pt x="104" y="51"/>
                </a:cubicBezTo>
                <a:close/>
                <a:moveTo>
                  <a:pt x="96" y="8"/>
                </a:moveTo>
                <a:cubicBezTo>
                  <a:pt x="96" y="51"/>
                  <a:pt x="96" y="51"/>
                  <a:pt x="96" y="51"/>
                </a:cubicBezTo>
                <a:cubicBezTo>
                  <a:pt x="86" y="51"/>
                  <a:pt x="76" y="50"/>
                  <a:pt x="67" y="48"/>
                </a:cubicBezTo>
                <a:cubicBezTo>
                  <a:pt x="74" y="25"/>
                  <a:pt x="85" y="11"/>
                  <a:pt x="96" y="8"/>
                </a:cubicBezTo>
                <a:close/>
                <a:moveTo>
                  <a:pt x="96" y="59"/>
                </a:moveTo>
                <a:cubicBezTo>
                  <a:pt x="96" y="96"/>
                  <a:pt x="96" y="96"/>
                  <a:pt x="96" y="96"/>
                </a:cubicBezTo>
                <a:cubicBezTo>
                  <a:pt x="60" y="96"/>
                  <a:pt x="60" y="96"/>
                  <a:pt x="60" y="96"/>
                </a:cubicBezTo>
                <a:cubicBezTo>
                  <a:pt x="60" y="81"/>
                  <a:pt x="62" y="67"/>
                  <a:pt x="65" y="55"/>
                </a:cubicBezTo>
                <a:cubicBezTo>
                  <a:pt x="75" y="58"/>
                  <a:pt x="85" y="59"/>
                  <a:pt x="96" y="59"/>
                </a:cubicBezTo>
                <a:close/>
                <a:moveTo>
                  <a:pt x="52" y="96"/>
                </a:moveTo>
                <a:cubicBezTo>
                  <a:pt x="8" y="96"/>
                  <a:pt x="8" y="96"/>
                  <a:pt x="8" y="96"/>
                </a:cubicBezTo>
                <a:cubicBezTo>
                  <a:pt x="9" y="75"/>
                  <a:pt x="17" y="56"/>
                  <a:pt x="29" y="41"/>
                </a:cubicBezTo>
                <a:cubicBezTo>
                  <a:pt x="38" y="46"/>
                  <a:pt x="47" y="50"/>
                  <a:pt x="57" y="53"/>
                </a:cubicBezTo>
                <a:cubicBezTo>
                  <a:pt x="54" y="66"/>
                  <a:pt x="52" y="80"/>
                  <a:pt x="52" y="96"/>
                </a:cubicBezTo>
                <a:close/>
                <a:moveTo>
                  <a:pt x="52" y="104"/>
                </a:moveTo>
                <a:cubicBezTo>
                  <a:pt x="52" y="119"/>
                  <a:pt x="54" y="133"/>
                  <a:pt x="57" y="146"/>
                </a:cubicBezTo>
                <a:cubicBezTo>
                  <a:pt x="47" y="149"/>
                  <a:pt x="38" y="153"/>
                  <a:pt x="29" y="158"/>
                </a:cubicBezTo>
                <a:cubicBezTo>
                  <a:pt x="17" y="143"/>
                  <a:pt x="9" y="124"/>
                  <a:pt x="8" y="104"/>
                </a:cubicBezTo>
                <a:lnTo>
                  <a:pt x="52" y="104"/>
                </a:lnTo>
                <a:close/>
                <a:moveTo>
                  <a:pt x="60" y="104"/>
                </a:moveTo>
                <a:cubicBezTo>
                  <a:pt x="96" y="104"/>
                  <a:pt x="96" y="104"/>
                  <a:pt x="96" y="104"/>
                </a:cubicBezTo>
                <a:cubicBezTo>
                  <a:pt x="96" y="140"/>
                  <a:pt x="96" y="140"/>
                  <a:pt x="96" y="140"/>
                </a:cubicBezTo>
                <a:cubicBezTo>
                  <a:pt x="85" y="140"/>
                  <a:pt x="75" y="141"/>
                  <a:pt x="65" y="144"/>
                </a:cubicBezTo>
                <a:cubicBezTo>
                  <a:pt x="62" y="132"/>
                  <a:pt x="60" y="118"/>
                  <a:pt x="60" y="104"/>
                </a:cubicBezTo>
                <a:close/>
                <a:moveTo>
                  <a:pt x="96" y="148"/>
                </a:moveTo>
                <a:cubicBezTo>
                  <a:pt x="96" y="191"/>
                  <a:pt x="96" y="191"/>
                  <a:pt x="96" y="191"/>
                </a:cubicBezTo>
                <a:cubicBezTo>
                  <a:pt x="85" y="188"/>
                  <a:pt x="74" y="174"/>
                  <a:pt x="67" y="152"/>
                </a:cubicBezTo>
                <a:cubicBezTo>
                  <a:pt x="76" y="149"/>
                  <a:pt x="86" y="148"/>
                  <a:pt x="96" y="148"/>
                </a:cubicBezTo>
                <a:close/>
                <a:moveTo>
                  <a:pt x="104" y="191"/>
                </a:moveTo>
                <a:cubicBezTo>
                  <a:pt x="104" y="148"/>
                  <a:pt x="104" y="148"/>
                  <a:pt x="104" y="148"/>
                </a:cubicBezTo>
                <a:cubicBezTo>
                  <a:pt x="114" y="148"/>
                  <a:pt x="123" y="149"/>
                  <a:pt x="133" y="152"/>
                </a:cubicBezTo>
                <a:cubicBezTo>
                  <a:pt x="126" y="174"/>
                  <a:pt x="115" y="188"/>
                  <a:pt x="104" y="191"/>
                </a:cubicBezTo>
                <a:close/>
                <a:moveTo>
                  <a:pt x="104" y="140"/>
                </a:moveTo>
                <a:cubicBezTo>
                  <a:pt x="104" y="104"/>
                  <a:pt x="104" y="104"/>
                  <a:pt x="104" y="104"/>
                </a:cubicBezTo>
                <a:cubicBezTo>
                  <a:pt x="140" y="104"/>
                  <a:pt x="140" y="104"/>
                  <a:pt x="140" y="104"/>
                </a:cubicBezTo>
                <a:cubicBezTo>
                  <a:pt x="140" y="118"/>
                  <a:pt x="138" y="132"/>
                  <a:pt x="135" y="144"/>
                </a:cubicBezTo>
                <a:cubicBezTo>
                  <a:pt x="125" y="141"/>
                  <a:pt x="115" y="140"/>
                  <a:pt x="104" y="140"/>
                </a:cubicBezTo>
                <a:close/>
                <a:moveTo>
                  <a:pt x="148" y="104"/>
                </a:moveTo>
                <a:cubicBezTo>
                  <a:pt x="192" y="104"/>
                  <a:pt x="192" y="104"/>
                  <a:pt x="192" y="104"/>
                </a:cubicBezTo>
                <a:cubicBezTo>
                  <a:pt x="191" y="124"/>
                  <a:pt x="183" y="143"/>
                  <a:pt x="171" y="158"/>
                </a:cubicBezTo>
                <a:cubicBezTo>
                  <a:pt x="162" y="153"/>
                  <a:pt x="153" y="149"/>
                  <a:pt x="143" y="146"/>
                </a:cubicBezTo>
                <a:cubicBezTo>
                  <a:pt x="146" y="133"/>
                  <a:pt x="148" y="119"/>
                  <a:pt x="148" y="104"/>
                </a:cubicBezTo>
                <a:close/>
                <a:moveTo>
                  <a:pt x="148" y="96"/>
                </a:moveTo>
                <a:cubicBezTo>
                  <a:pt x="148" y="80"/>
                  <a:pt x="146" y="66"/>
                  <a:pt x="143" y="53"/>
                </a:cubicBezTo>
                <a:cubicBezTo>
                  <a:pt x="153" y="50"/>
                  <a:pt x="162" y="46"/>
                  <a:pt x="171" y="41"/>
                </a:cubicBezTo>
                <a:cubicBezTo>
                  <a:pt x="183" y="56"/>
                  <a:pt x="191" y="75"/>
                  <a:pt x="192" y="96"/>
                </a:cubicBezTo>
                <a:lnTo>
                  <a:pt x="148" y="96"/>
                </a:lnTo>
                <a:close/>
                <a:moveTo>
                  <a:pt x="166" y="35"/>
                </a:moveTo>
                <a:cubicBezTo>
                  <a:pt x="158" y="39"/>
                  <a:pt x="149" y="43"/>
                  <a:pt x="140" y="46"/>
                </a:cubicBezTo>
                <a:cubicBezTo>
                  <a:pt x="136" y="30"/>
                  <a:pt x="129" y="18"/>
                  <a:pt x="121" y="10"/>
                </a:cubicBezTo>
                <a:cubicBezTo>
                  <a:pt x="138" y="14"/>
                  <a:pt x="154" y="23"/>
                  <a:pt x="166" y="35"/>
                </a:cubicBezTo>
                <a:close/>
                <a:moveTo>
                  <a:pt x="78" y="10"/>
                </a:moveTo>
                <a:cubicBezTo>
                  <a:pt x="71" y="18"/>
                  <a:pt x="64" y="30"/>
                  <a:pt x="59" y="45"/>
                </a:cubicBezTo>
                <a:cubicBezTo>
                  <a:pt x="51" y="43"/>
                  <a:pt x="42" y="39"/>
                  <a:pt x="34" y="35"/>
                </a:cubicBezTo>
                <a:cubicBezTo>
                  <a:pt x="46" y="23"/>
                  <a:pt x="61" y="14"/>
                  <a:pt x="78" y="10"/>
                </a:cubicBezTo>
                <a:close/>
                <a:moveTo>
                  <a:pt x="34" y="164"/>
                </a:moveTo>
                <a:cubicBezTo>
                  <a:pt x="42" y="160"/>
                  <a:pt x="51" y="156"/>
                  <a:pt x="59" y="154"/>
                </a:cubicBezTo>
                <a:cubicBezTo>
                  <a:pt x="64" y="169"/>
                  <a:pt x="71" y="181"/>
                  <a:pt x="78" y="189"/>
                </a:cubicBezTo>
                <a:cubicBezTo>
                  <a:pt x="61" y="185"/>
                  <a:pt x="46" y="176"/>
                  <a:pt x="34" y="164"/>
                </a:cubicBezTo>
                <a:close/>
                <a:moveTo>
                  <a:pt x="121" y="189"/>
                </a:moveTo>
                <a:cubicBezTo>
                  <a:pt x="129" y="181"/>
                  <a:pt x="136" y="169"/>
                  <a:pt x="140" y="154"/>
                </a:cubicBezTo>
                <a:cubicBezTo>
                  <a:pt x="149" y="156"/>
                  <a:pt x="158" y="160"/>
                  <a:pt x="166" y="164"/>
                </a:cubicBezTo>
                <a:cubicBezTo>
                  <a:pt x="154" y="176"/>
                  <a:pt x="138" y="185"/>
                  <a:pt x="121" y="189"/>
                </a:cubicBezTo>
                <a:close/>
              </a:path>
            </a:pathLst>
          </a:custGeom>
          <a:solidFill>
            <a:schemeClr val="bg1"/>
          </a:solidFill>
          <a:ln w="12700">
            <a:noFill/>
          </a:ln>
        </p:spPr>
        <p:txBody>
          <a:bodyPr vert="horz" wrap="square" lIns="45732" tIns="22866" rIns="45732" bIns="22866" numCol="1" anchor="t" anchorCtr="0" compatLnSpc="1">
            <a:prstTxWarp prst="textNoShape">
              <a:avLst/>
            </a:prstTxWarp>
          </a:bodyPr>
          <a:lstStyle/>
          <a:p>
            <a:endParaRPr lang="en-US" sz="1801" dirty="0">
              <a:latin typeface="Raleway Light" panose="020B0403030101060003" pitchFamily="34" charset="77"/>
            </a:endParaRPr>
          </a:p>
        </p:txBody>
      </p:sp>
      <p:sp>
        <p:nvSpPr>
          <p:cNvPr id="36" name="Text Placeholder 30">
            <a:extLst>
              <a:ext uri="{FF2B5EF4-FFF2-40B4-BE49-F238E27FC236}">
                <a16:creationId xmlns:a16="http://schemas.microsoft.com/office/drawing/2014/main" id="{839DA339-7523-F24A-A166-BF1A098C12A4}"/>
              </a:ext>
            </a:extLst>
          </p:cNvPr>
          <p:cNvSpPr>
            <a:spLocks noGrp="1"/>
          </p:cNvSpPr>
          <p:nvPr>
            <p:ph type="body" sz="quarter" idx="11" hasCustomPrompt="1"/>
          </p:nvPr>
        </p:nvSpPr>
        <p:spPr>
          <a:xfrm>
            <a:off x="2903396" y="4121727"/>
            <a:ext cx="1430516" cy="296862"/>
          </a:xfrm>
          <a:prstGeom prst="rect">
            <a:avLst/>
          </a:prstGeom>
        </p:spPr>
        <p:txBody>
          <a:bodyPr>
            <a:noAutofit/>
          </a:bodyPr>
          <a:lstStyle>
            <a:lvl1pPr marL="0" indent="0">
              <a:buNone/>
              <a:defRPr sz="1600">
                <a:solidFill>
                  <a:schemeClr val="bg1"/>
                </a:solidFill>
              </a:defRPr>
            </a:lvl1pPr>
          </a:lstStyle>
          <a:p>
            <a:pPr lvl="0"/>
            <a:r>
              <a:rPr lang="en-US" dirty="0" err="1"/>
              <a:t>email@str.com</a:t>
            </a:r>
            <a:endParaRPr lang="en-US" dirty="0"/>
          </a:p>
        </p:txBody>
      </p:sp>
      <p:pic>
        <p:nvPicPr>
          <p:cNvPr id="22" name="Picture 2" descr="Z:\Branding materials\Powerpoint Template\wechat.png">
            <a:extLst>
              <a:ext uri="{FF2B5EF4-FFF2-40B4-BE49-F238E27FC236}">
                <a16:creationId xmlns:a16="http://schemas.microsoft.com/office/drawing/2014/main" id="{2A95E5F4-FBA6-8543-90B9-C28332CAD244}"/>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080633" y="3445994"/>
            <a:ext cx="593014" cy="513491"/>
          </a:xfrm>
          <a:prstGeom prst="rect">
            <a:avLst/>
          </a:prstGeom>
          <a:noFill/>
          <a:extLst>
            <a:ext uri="{909E8E84-426E-40DD-AFC4-6F175D3DCCD1}">
              <a14:hiddenFill xmlns:a14="http://schemas.microsoft.com/office/drawing/2010/main">
                <a:solidFill>
                  <a:srgbClr val="FFFFFF"/>
                </a:solidFill>
              </a14:hiddenFill>
            </a:ext>
          </a:extLst>
        </p:spPr>
      </p:pic>
      <p:sp>
        <p:nvSpPr>
          <p:cNvPr id="23" name="Text Placeholder 32">
            <a:extLst>
              <a:ext uri="{FF2B5EF4-FFF2-40B4-BE49-F238E27FC236}">
                <a16:creationId xmlns:a16="http://schemas.microsoft.com/office/drawing/2014/main" id="{812C6017-DA80-354A-BB3C-7F5C1E5383FC}"/>
              </a:ext>
            </a:extLst>
          </p:cNvPr>
          <p:cNvSpPr>
            <a:spLocks noGrp="1"/>
          </p:cNvSpPr>
          <p:nvPr>
            <p:ph type="body" sz="quarter" idx="12" hasCustomPrompt="1"/>
          </p:nvPr>
        </p:nvSpPr>
        <p:spPr>
          <a:xfrm>
            <a:off x="5128960" y="4121727"/>
            <a:ext cx="496359" cy="296863"/>
          </a:xfrm>
          <a:prstGeom prst="rect">
            <a:avLst/>
          </a:prstGeom>
        </p:spPr>
        <p:txBody>
          <a:bodyPr>
            <a:noAutofit/>
          </a:bodyPr>
          <a:lstStyle>
            <a:lvl1pPr marL="0" indent="0">
              <a:buNone/>
              <a:defRPr sz="1600">
                <a:solidFill>
                  <a:schemeClr val="bg1"/>
                </a:solidFill>
              </a:defRPr>
            </a:lvl1pPr>
          </a:lstStyle>
          <a:p>
            <a:pPr lvl="0"/>
            <a:r>
              <a:rPr lang="en-US" dirty="0"/>
              <a:t>STR</a:t>
            </a:r>
          </a:p>
        </p:txBody>
      </p:sp>
      <p:sp>
        <p:nvSpPr>
          <p:cNvPr id="8" name="Text Placeholder 7">
            <a:extLst>
              <a:ext uri="{FF2B5EF4-FFF2-40B4-BE49-F238E27FC236}">
                <a16:creationId xmlns:a16="http://schemas.microsoft.com/office/drawing/2014/main" id="{2A4733FE-0B1F-BF4E-BE2D-B193CF0D33BF}"/>
              </a:ext>
            </a:extLst>
          </p:cNvPr>
          <p:cNvSpPr>
            <a:spLocks noGrp="1"/>
          </p:cNvSpPr>
          <p:nvPr>
            <p:ph type="body" sz="quarter" idx="13" hasCustomPrompt="1"/>
          </p:nvPr>
        </p:nvSpPr>
        <p:spPr>
          <a:xfrm>
            <a:off x="908050" y="1069464"/>
            <a:ext cx="6611638" cy="604301"/>
          </a:xfrm>
          <a:prstGeom prst="rect">
            <a:avLst/>
          </a:prstGeom>
        </p:spPr>
        <p:txBody>
          <a:bodyPr>
            <a:noAutofit/>
          </a:bodyPr>
          <a:lstStyle>
            <a:lvl1pPr marL="0" indent="0">
              <a:buNone/>
              <a:defRPr sz="4800" b="1">
                <a:solidFill>
                  <a:schemeClr val="bg1"/>
                </a:solidFill>
              </a:defRPr>
            </a:lvl1pPr>
          </a:lstStyle>
          <a:p>
            <a:r>
              <a:rPr lang="en-US" dirty="0"/>
              <a:t>Thank You!</a:t>
            </a:r>
          </a:p>
        </p:txBody>
      </p:sp>
      <p:pic>
        <p:nvPicPr>
          <p:cNvPr id="40" name="Picture 39">
            <a:extLst>
              <a:ext uri="{FF2B5EF4-FFF2-40B4-BE49-F238E27FC236}">
                <a16:creationId xmlns:a16="http://schemas.microsoft.com/office/drawing/2014/main" id="{8582096C-A297-D944-BCF6-93C375993CBD}"/>
              </a:ext>
            </a:extLst>
          </p:cNvPr>
          <p:cNvPicPr>
            <a:picLocks noChangeAspect="1"/>
          </p:cNvPicPr>
          <p:nvPr userDrawn="1"/>
        </p:nvPicPr>
        <p:blipFill>
          <a:blip r:embed="rId6"/>
          <a:stretch>
            <a:fillRect/>
          </a:stretch>
        </p:blipFill>
        <p:spPr>
          <a:xfrm>
            <a:off x="10608145" y="299377"/>
            <a:ext cx="1260127" cy="1554313"/>
          </a:xfrm>
          <a:prstGeom prst="rect">
            <a:avLst/>
          </a:prstGeom>
        </p:spPr>
      </p:pic>
    </p:spTree>
    <p:extLst>
      <p:ext uri="{BB962C8B-B14F-4D97-AF65-F5344CB8AC3E}">
        <p14:creationId xmlns:p14="http://schemas.microsoft.com/office/powerpoint/2010/main" val="1372763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39185" y="2133600"/>
            <a:ext cx="11713632" cy="4103688"/>
          </a:xfrm>
        </p:spPr>
        <p:txBody>
          <a:bodyPr/>
          <a:lstStyle>
            <a:lvl1pPr marL="0" indent="0">
              <a:buNone/>
              <a:defRPr sz="1600">
                <a:solidFill>
                  <a:schemeClr val="accent6">
                    <a:lumMod val="50000"/>
                  </a:schemeClr>
                </a:solidFill>
              </a:defRPr>
            </a:lvl1pPr>
            <a:lvl2pPr marL="341303" indent="0">
              <a:buNone/>
              <a:defRPr sz="1800">
                <a:solidFill>
                  <a:schemeClr val="accent6">
                    <a:lumMod val="50000"/>
                  </a:schemeClr>
                </a:solidFill>
              </a:defRPr>
            </a:lvl2pPr>
            <a:lvl3pPr marL="688957" indent="0">
              <a:buNone/>
              <a:defRPr sz="1600">
                <a:solidFill>
                  <a:schemeClr val="accent6">
                    <a:lumMod val="50000"/>
                  </a:schemeClr>
                </a:solidFill>
              </a:defRPr>
            </a:lvl3pPr>
            <a:lvl4pPr>
              <a:defRPr sz="1600">
                <a:solidFill>
                  <a:schemeClr val="accent6">
                    <a:lumMod val="50000"/>
                  </a:schemeClr>
                </a:solidFill>
              </a:defRPr>
            </a:lvl4pPr>
            <a:lvl5pPr marL="1123923" indent="0">
              <a:buNone/>
              <a:defRPr sz="1600">
                <a:solidFill>
                  <a:schemeClr val="accent6">
                    <a:lumMod val="50000"/>
                  </a:schemeClr>
                </a:solidFill>
              </a:defRPr>
            </a:lvl5pPr>
            <a:lvl6pPr>
              <a:defRPr sz="1800"/>
            </a:lvl6pPr>
            <a:lvl7pPr>
              <a:defRPr sz="1800"/>
            </a:lvl7pPr>
            <a:lvl8pPr>
              <a:defRPr sz="1800"/>
            </a:lvl8pPr>
            <a:lvl9pPr>
              <a:defRPr sz="1800"/>
            </a:lvl9pPr>
          </a:lstStyle>
          <a:p>
            <a:pPr lvl="0"/>
            <a:endParaRPr lang="en-US"/>
          </a:p>
        </p:txBody>
      </p:sp>
      <p:sp>
        <p:nvSpPr>
          <p:cNvPr id="8" name="Text Placeholder 7"/>
          <p:cNvSpPr>
            <a:spLocks noGrp="1"/>
          </p:cNvSpPr>
          <p:nvPr>
            <p:ph type="body" sz="quarter" idx="11"/>
          </p:nvPr>
        </p:nvSpPr>
        <p:spPr>
          <a:xfrm>
            <a:off x="239186" y="1311845"/>
            <a:ext cx="11713633" cy="649287"/>
          </a:xfrm>
        </p:spPr>
        <p:txBody>
          <a:bodyPr anchor="t"/>
          <a:lstStyle>
            <a:lvl1pPr marL="0" indent="0" algn="l">
              <a:buNone/>
              <a:defRPr sz="1400" b="0">
                <a:solidFill>
                  <a:srgbClr val="000000"/>
                </a:solidFill>
              </a:defRPr>
            </a:lvl1pPr>
            <a:lvl2pPr marL="0" indent="0" algn="ctr">
              <a:lnSpc>
                <a:spcPct val="100000"/>
              </a:lnSpc>
              <a:spcBef>
                <a:spcPts val="0"/>
              </a:spcBef>
              <a:buNone/>
              <a:defRPr sz="1400" b="0" i="1">
                <a:solidFill>
                  <a:srgbClr val="000000"/>
                </a:solidFill>
              </a:defRPr>
            </a:lvl2pPr>
            <a:lvl3pPr marL="688957" indent="0">
              <a:buNone/>
              <a:defRPr b="1"/>
            </a:lvl3pPr>
            <a:lvl4pPr marL="1009625" indent="0">
              <a:buFont typeface="Arial" pitchFamily="34" charset="0"/>
              <a:buNone/>
              <a:defRPr b="1"/>
            </a:lvl4pPr>
            <a:lvl5pPr marL="1123923" indent="0">
              <a:buNone/>
              <a:defRPr b="1"/>
            </a:lvl5pPr>
          </a:lstStyle>
          <a:p>
            <a:pPr lvl="0"/>
            <a:r>
              <a:rPr lang="en-US"/>
              <a:t>Click to edit Master text styles</a:t>
            </a:r>
          </a:p>
        </p:txBody>
      </p:sp>
      <p:sp>
        <p:nvSpPr>
          <p:cNvPr id="7" name="Date Placeholder 3"/>
          <p:cNvSpPr>
            <a:spLocks noGrp="1"/>
          </p:cNvSpPr>
          <p:nvPr>
            <p:ph type="dt" sz="half" idx="2"/>
          </p:nvPr>
        </p:nvSpPr>
        <p:spPr>
          <a:xfrm>
            <a:off x="393193" y="6488643"/>
            <a:ext cx="1534267" cy="123824"/>
          </a:xfrm>
          <a:prstGeom prst="rect">
            <a:avLst/>
          </a:prstGeom>
        </p:spPr>
        <p:txBody>
          <a:bodyPr vert="horz" lIns="0" tIns="0" rIns="0" bIns="0" rtlCol="0" anchor="ctr"/>
          <a:lstStyle>
            <a:lvl1pPr algn="l">
              <a:defRPr sz="525" baseline="0">
                <a:solidFill>
                  <a:schemeClr val="tx1"/>
                </a:solidFill>
                <a:latin typeface="Arial" charset="0"/>
              </a:defRPr>
            </a:lvl1pPr>
          </a:lstStyle>
          <a:p>
            <a:fld id="{05D72C07-01EA-E84F-BF38-B6174041BB94}" type="datetime3">
              <a:rPr lang="en-US" altLang="ja-JP" smtClean="0"/>
              <a:t>22 August 2022</a:t>
            </a:fld>
            <a:endParaRPr lang="en-US" dirty="0"/>
          </a:p>
        </p:txBody>
      </p:sp>
      <p:sp>
        <p:nvSpPr>
          <p:cNvPr id="9" name="Footer Placeholder 4"/>
          <p:cNvSpPr>
            <a:spLocks noGrp="1"/>
          </p:cNvSpPr>
          <p:nvPr>
            <p:ph type="ftr" sz="quarter" idx="3"/>
          </p:nvPr>
        </p:nvSpPr>
        <p:spPr>
          <a:xfrm>
            <a:off x="2057400" y="6488643"/>
            <a:ext cx="4114800" cy="123824"/>
          </a:xfrm>
          <a:prstGeom prst="rect">
            <a:avLst/>
          </a:prstGeom>
        </p:spPr>
        <p:txBody>
          <a:bodyPr vert="horz" lIns="0" tIns="0" rIns="0" bIns="0" rtlCol="0" anchor="ctr"/>
          <a:lstStyle>
            <a:lvl1pPr algn="l">
              <a:defRPr sz="525">
                <a:solidFill>
                  <a:schemeClr val="tx1"/>
                </a:solidFill>
                <a:latin typeface="Arial"/>
              </a:defRPr>
            </a:lvl1pPr>
          </a:lstStyle>
          <a:p>
            <a:r>
              <a:rPr lang="en-US" dirty="0"/>
              <a:t>© 2017.  All rights reserved.          Proprietary and confidential </a:t>
            </a:r>
          </a:p>
        </p:txBody>
      </p:sp>
      <p:sp>
        <p:nvSpPr>
          <p:cNvPr id="10" name="Slide Number Placeholder 5"/>
          <p:cNvSpPr>
            <a:spLocks noGrp="1"/>
          </p:cNvSpPr>
          <p:nvPr>
            <p:ph type="sldNum" sz="quarter" idx="4"/>
          </p:nvPr>
        </p:nvSpPr>
        <p:spPr>
          <a:xfrm>
            <a:off x="11348720" y="6477001"/>
            <a:ext cx="458072" cy="123824"/>
          </a:xfrm>
          <a:prstGeom prst="rect">
            <a:avLst/>
          </a:prstGeom>
        </p:spPr>
        <p:txBody>
          <a:bodyPr vert="horz" lIns="0" tIns="0" rIns="0" bIns="45720" rtlCol="0" anchor="ctr"/>
          <a:lstStyle>
            <a:lvl1pPr algn="r">
              <a:defRPr sz="600" baseline="0">
                <a:solidFill>
                  <a:schemeClr val="tx1"/>
                </a:solidFill>
                <a:latin typeface="Arial" charset="0"/>
              </a:defRPr>
            </a:lvl1pPr>
          </a:lstStyle>
          <a:p>
            <a:fld id="{84023F24-2D24-694A-BE58-6F02E6BB7680}" type="slidenum">
              <a:rPr lang="en-US" smtClean="0"/>
              <a:pPr/>
              <a:t>‹#›</a:t>
            </a:fld>
            <a:endParaRPr lang="en-US" dirty="0"/>
          </a:p>
        </p:txBody>
      </p:sp>
    </p:spTree>
    <p:extLst>
      <p:ext uri="{BB962C8B-B14F-4D97-AF65-F5344CB8AC3E}">
        <p14:creationId xmlns:p14="http://schemas.microsoft.com/office/powerpoint/2010/main" val="3807547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56032" y="339223"/>
            <a:ext cx="11713469" cy="685800"/>
          </a:xfrm>
        </p:spPr>
        <p:txBody>
          <a:bodyPr/>
          <a:lstStyle/>
          <a:p>
            <a:r>
              <a:rPr lang="en-US"/>
              <a:t>Click to edit Master title style</a:t>
            </a:r>
          </a:p>
        </p:txBody>
      </p:sp>
      <p:sp>
        <p:nvSpPr>
          <p:cNvPr id="3" name="Content Placeholder 2"/>
          <p:cNvSpPr>
            <a:spLocks noGrp="1"/>
          </p:cNvSpPr>
          <p:nvPr>
            <p:ph sz="half" idx="1"/>
          </p:nvPr>
        </p:nvSpPr>
        <p:spPr>
          <a:xfrm>
            <a:off x="239185" y="1958401"/>
            <a:ext cx="4230624" cy="4278889"/>
          </a:xfrm>
          <a:prstGeom prst="rect">
            <a:avLst/>
          </a:prstGeom>
          <a:ln>
            <a:solidFill>
              <a:schemeClr val="accent6"/>
            </a:solidFill>
          </a:ln>
        </p:spPr>
        <p:txBody>
          <a:bodyPr/>
          <a:lstStyle>
            <a:lvl1pPr marL="0" indent="0">
              <a:buNone/>
              <a:defRPr sz="1600">
                <a:solidFill>
                  <a:schemeClr val="accent6">
                    <a:lumMod val="50000"/>
                  </a:schemeClr>
                </a:solidFill>
              </a:defRPr>
            </a:lvl1pPr>
            <a:lvl2pPr marL="341301" indent="0">
              <a:buNone/>
              <a:defRPr sz="1800">
                <a:solidFill>
                  <a:schemeClr val="accent6">
                    <a:lumMod val="50000"/>
                  </a:schemeClr>
                </a:solidFill>
              </a:defRPr>
            </a:lvl2pPr>
            <a:lvl3pPr marL="688951" indent="0">
              <a:buNone/>
              <a:defRPr sz="1600">
                <a:solidFill>
                  <a:schemeClr val="accent6">
                    <a:lumMod val="50000"/>
                  </a:schemeClr>
                </a:solidFill>
              </a:defRPr>
            </a:lvl3pPr>
            <a:lvl4pPr>
              <a:defRPr sz="1600">
                <a:solidFill>
                  <a:schemeClr val="accent6">
                    <a:lumMod val="50000"/>
                  </a:schemeClr>
                </a:solidFill>
              </a:defRPr>
            </a:lvl4pPr>
            <a:lvl5pPr marL="1123911" indent="0">
              <a:buNone/>
              <a:defRPr sz="1600">
                <a:solidFill>
                  <a:schemeClr val="accent6">
                    <a:lumMod val="50000"/>
                  </a:schemeClr>
                </a:solidFill>
              </a:defRPr>
            </a:lvl5pPr>
            <a:lvl6pPr>
              <a:defRPr sz="1800"/>
            </a:lvl6pPr>
            <a:lvl7pPr>
              <a:defRPr sz="1800"/>
            </a:lvl7pPr>
            <a:lvl8pPr>
              <a:defRPr sz="1800"/>
            </a:lvl8pPr>
            <a:lvl9pPr>
              <a:defRPr sz="1800"/>
            </a:lvl9pPr>
          </a:lstStyle>
          <a:p>
            <a:pPr lvl="0"/>
            <a:endParaRPr lang="en-US"/>
          </a:p>
        </p:txBody>
      </p:sp>
      <p:sp>
        <p:nvSpPr>
          <p:cNvPr id="8" name="Text Placeholder 7"/>
          <p:cNvSpPr>
            <a:spLocks noGrp="1"/>
          </p:cNvSpPr>
          <p:nvPr>
            <p:ph type="body" sz="quarter" idx="11"/>
          </p:nvPr>
        </p:nvSpPr>
        <p:spPr>
          <a:xfrm>
            <a:off x="239188" y="1157155"/>
            <a:ext cx="11713633" cy="649287"/>
          </a:xfrm>
          <a:prstGeom prst="rect">
            <a:avLst/>
          </a:prstGeom>
        </p:spPr>
        <p:txBody>
          <a:bodyPr anchor="ctr"/>
          <a:lstStyle>
            <a:lvl1pPr marL="0" indent="0" algn="ctr">
              <a:buNone/>
              <a:defRPr sz="1600" b="1">
                <a:solidFill>
                  <a:srgbClr val="000000"/>
                </a:solidFill>
              </a:defRPr>
            </a:lvl1pPr>
            <a:lvl2pPr marL="0" indent="0" algn="ctr">
              <a:lnSpc>
                <a:spcPct val="100000"/>
              </a:lnSpc>
              <a:spcBef>
                <a:spcPts val="0"/>
              </a:spcBef>
              <a:buNone/>
              <a:defRPr sz="1400" b="0" i="1">
                <a:solidFill>
                  <a:srgbClr val="000000"/>
                </a:solidFill>
              </a:defRPr>
            </a:lvl2pPr>
            <a:lvl3pPr marL="688951" indent="0">
              <a:buNone/>
              <a:defRPr b="1"/>
            </a:lvl3pPr>
            <a:lvl4pPr marL="1009615" indent="0">
              <a:buFont typeface="Arial" pitchFamily="34" charset="0"/>
              <a:buNone/>
              <a:defRPr b="1"/>
            </a:lvl4pPr>
            <a:lvl5pPr marL="1123911" indent="0">
              <a:buNone/>
              <a:defRPr b="1"/>
            </a:lvl5pPr>
          </a:lstStyle>
          <a:p>
            <a:pPr lvl="0"/>
            <a:r>
              <a:rPr lang="en-US"/>
              <a:t>Click to edit Master text styles</a:t>
            </a:r>
          </a:p>
          <a:p>
            <a:pPr lvl="1"/>
            <a:r>
              <a:rPr lang="en-US"/>
              <a:t>Second level</a:t>
            </a:r>
          </a:p>
        </p:txBody>
      </p:sp>
      <p:sp>
        <p:nvSpPr>
          <p:cNvPr id="5" name="Chart Placeholder 4"/>
          <p:cNvSpPr>
            <a:spLocks noGrp="1"/>
          </p:cNvSpPr>
          <p:nvPr>
            <p:ph type="chart" sz="quarter" idx="12"/>
          </p:nvPr>
        </p:nvSpPr>
        <p:spPr>
          <a:xfrm>
            <a:off x="4583275" y="1958401"/>
            <a:ext cx="7388352" cy="4278889"/>
          </a:xfrm>
          <a:ln>
            <a:solidFill>
              <a:schemeClr val="accent6"/>
            </a:solidFill>
          </a:ln>
        </p:spPr>
        <p:txBody>
          <a:bodyPr/>
          <a:lstStyle>
            <a:lvl1pPr marL="0" indent="0">
              <a:buNone/>
              <a:defRPr/>
            </a:lvl1pPr>
          </a:lstStyle>
          <a:p>
            <a:endParaRPr lang="en-US" dirty="0"/>
          </a:p>
        </p:txBody>
      </p:sp>
      <p:sp>
        <p:nvSpPr>
          <p:cNvPr id="7" name="Date Placeholder 3"/>
          <p:cNvSpPr>
            <a:spLocks noGrp="1"/>
          </p:cNvSpPr>
          <p:nvPr>
            <p:ph type="dt" sz="half" idx="2"/>
          </p:nvPr>
        </p:nvSpPr>
        <p:spPr>
          <a:xfrm>
            <a:off x="393193" y="6488643"/>
            <a:ext cx="1534267" cy="123824"/>
          </a:xfrm>
          <a:prstGeom prst="rect">
            <a:avLst/>
          </a:prstGeom>
        </p:spPr>
        <p:txBody>
          <a:bodyPr vert="horz" lIns="0" tIns="0" rIns="0" bIns="0" rtlCol="0" anchor="ctr"/>
          <a:lstStyle>
            <a:lvl1pPr algn="l">
              <a:defRPr sz="525" baseline="0">
                <a:solidFill>
                  <a:schemeClr val="tx1"/>
                </a:solidFill>
                <a:latin typeface="Arial" charset="0"/>
              </a:defRPr>
            </a:lvl1pPr>
          </a:lstStyle>
          <a:p>
            <a:fld id="{05D72C07-01EA-E84F-BF38-B6174041BB94}" type="datetime3">
              <a:rPr lang="en-US" altLang="ja-JP" smtClean="0"/>
              <a:t>22 August 2022</a:t>
            </a:fld>
            <a:endParaRPr lang="en-US" dirty="0"/>
          </a:p>
        </p:txBody>
      </p:sp>
      <p:sp>
        <p:nvSpPr>
          <p:cNvPr id="9" name="Footer Placeholder 4"/>
          <p:cNvSpPr>
            <a:spLocks noGrp="1"/>
          </p:cNvSpPr>
          <p:nvPr>
            <p:ph type="ftr" sz="quarter" idx="3"/>
          </p:nvPr>
        </p:nvSpPr>
        <p:spPr>
          <a:xfrm>
            <a:off x="2057400" y="6488643"/>
            <a:ext cx="4114800" cy="123824"/>
          </a:xfrm>
          <a:prstGeom prst="rect">
            <a:avLst/>
          </a:prstGeom>
        </p:spPr>
        <p:txBody>
          <a:bodyPr vert="horz" lIns="0" tIns="0" rIns="0" bIns="0" rtlCol="0" anchor="ctr"/>
          <a:lstStyle>
            <a:lvl1pPr algn="l">
              <a:defRPr sz="525">
                <a:solidFill>
                  <a:schemeClr val="tx1"/>
                </a:solidFill>
                <a:latin typeface="Arial"/>
              </a:defRPr>
            </a:lvl1pPr>
          </a:lstStyle>
          <a:p>
            <a:r>
              <a:rPr lang="en-US" dirty="0"/>
              <a:t>© 2017.  All rights reserved.          Proprietary and confidential </a:t>
            </a:r>
          </a:p>
        </p:txBody>
      </p:sp>
      <p:sp>
        <p:nvSpPr>
          <p:cNvPr id="10" name="Slide Number Placeholder 5"/>
          <p:cNvSpPr>
            <a:spLocks noGrp="1"/>
          </p:cNvSpPr>
          <p:nvPr>
            <p:ph type="sldNum" sz="quarter" idx="4"/>
          </p:nvPr>
        </p:nvSpPr>
        <p:spPr>
          <a:xfrm>
            <a:off x="11348720" y="6477001"/>
            <a:ext cx="458072" cy="123824"/>
          </a:xfrm>
          <a:prstGeom prst="rect">
            <a:avLst/>
          </a:prstGeom>
        </p:spPr>
        <p:txBody>
          <a:bodyPr vert="horz" lIns="0" tIns="0" rIns="0" bIns="45720" rtlCol="0" anchor="ctr"/>
          <a:lstStyle>
            <a:lvl1pPr algn="r">
              <a:defRPr sz="600" baseline="0">
                <a:solidFill>
                  <a:schemeClr val="tx1"/>
                </a:solidFill>
                <a:latin typeface="Arial" charset="0"/>
              </a:defRPr>
            </a:lvl1pPr>
          </a:lstStyle>
          <a:p>
            <a:fld id="{84023F24-2D24-694A-BE58-6F02E6BB7680}" type="slidenum">
              <a:rPr lang="en-US" smtClean="0"/>
              <a:pPr/>
              <a:t>‹#›</a:t>
            </a:fld>
            <a:endParaRPr lang="en-US" dirty="0"/>
          </a:p>
        </p:txBody>
      </p:sp>
    </p:spTree>
    <p:extLst>
      <p:ext uri="{BB962C8B-B14F-4D97-AF65-F5344CB8AC3E}">
        <p14:creationId xmlns:p14="http://schemas.microsoft.com/office/powerpoint/2010/main" val="159888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Introduction/Title +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accent1"/>
                </a:solidFill>
              </a:defRPr>
            </a:lvl1pPr>
          </a:lstStyle>
          <a:p>
            <a:r>
              <a:rPr lang="en-US"/>
              <a:t>&lt;Title + Content&gt;</a:t>
            </a:r>
          </a:p>
        </p:txBody>
      </p:sp>
      <p:sp>
        <p:nvSpPr>
          <p:cNvPr id="3" name="Content Placeholder 2"/>
          <p:cNvSpPr>
            <a:spLocks noGrp="1"/>
          </p:cNvSpPr>
          <p:nvPr>
            <p:ph idx="1" hasCustomPrompt="1"/>
          </p:nvPr>
        </p:nvSpPr>
        <p:spPr>
          <a:xfrm>
            <a:off x="393192" y="1280153"/>
            <a:ext cx="11422744" cy="4972051"/>
          </a:xfrm>
        </p:spPr>
        <p:txBody>
          <a:bodyPr/>
          <a:lstStyle>
            <a:lvl1pPr>
              <a:spcBef>
                <a:spcPts val="1000"/>
              </a:spcBef>
              <a:defRPr/>
            </a:lvl1pPr>
            <a:lvl2pPr>
              <a:spcBef>
                <a:spcPts val="0"/>
              </a:spcBef>
              <a:defRPr/>
            </a:lvl2pPr>
            <a:lvl3pPr>
              <a:spcBef>
                <a:spcPts val="200"/>
              </a:spcBef>
              <a:defRPr baseline="0"/>
            </a:lvl3pPr>
            <a:lvl4pPr>
              <a:spcBef>
                <a:spcPts val="100"/>
              </a:spcBef>
              <a:defRPr/>
            </a:lvl4pPr>
          </a:lstStyle>
          <a:p>
            <a:pPr lvl="0"/>
            <a:r>
              <a:rPr lang="en-US"/>
              <a:t>Subhead appears in IHG Grey, Arial Bold 15</a:t>
            </a:r>
          </a:p>
          <a:p>
            <a:pPr lvl="1"/>
            <a:r>
              <a:rPr lang="en-US"/>
              <a:t>Second level, Arial Regular 15</a:t>
            </a:r>
          </a:p>
          <a:p>
            <a:pPr lvl="2"/>
            <a:r>
              <a:rPr lang="en-US"/>
              <a:t>Third level, Arial Regular 15</a:t>
            </a:r>
          </a:p>
          <a:p>
            <a:pPr lvl="3"/>
            <a:r>
              <a:rPr lang="en-US"/>
              <a:t>Fourth level, Arial Regular 15</a:t>
            </a:r>
          </a:p>
          <a:p>
            <a:pPr lvl="4"/>
            <a:r>
              <a:rPr lang="en-US"/>
              <a:t>Fifth level, Arial Regular 15</a:t>
            </a:r>
          </a:p>
        </p:txBody>
      </p:sp>
      <p:sp>
        <p:nvSpPr>
          <p:cNvPr id="9" name="Text Placeholder 8"/>
          <p:cNvSpPr>
            <a:spLocks noGrp="1"/>
          </p:cNvSpPr>
          <p:nvPr>
            <p:ph type="body" sz="quarter" idx="13" hasCustomPrompt="1"/>
          </p:nvPr>
        </p:nvSpPr>
        <p:spPr>
          <a:xfrm>
            <a:off x="393192" y="6283680"/>
            <a:ext cx="8682592" cy="152400"/>
          </a:xfrm>
        </p:spPr>
        <p:txBody>
          <a:bodyPr tIns="0" bIns="0"/>
          <a:lstStyle>
            <a:lvl1pPr>
              <a:defRPr sz="851" b="0"/>
            </a:lvl1pPr>
            <a:lvl2pPr>
              <a:defRPr sz="900"/>
            </a:lvl2pPr>
            <a:lvl3pPr>
              <a:defRPr sz="900"/>
            </a:lvl3pPr>
            <a:lvl4pPr>
              <a:defRPr sz="900"/>
            </a:lvl4pPr>
            <a:lvl5pPr>
              <a:defRPr sz="900"/>
            </a:lvl5pPr>
          </a:lstStyle>
          <a:p>
            <a:pPr lvl="0"/>
            <a:r>
              <a:rPr lang="en-US"/>
              <a:t>&lt;Footnote or caption&gt;</a:t>
            </a:r>
          </a:p>
        </p:txBody>
      </p:sp>
      <p:sp>
        <p:nvSpPr>
          <p:cNvPr id="12" name="Date Placeholder 3"/>
          <p:cNvSpPr>
            <a:spLocks noGrp="1"/>
          </p:cNvSpPr>
          <p:nvPr>
            <p:ph type="dt" sz="half" idx="2"/>
          </p:nvPr>
        </p:nvSpPr>
        <p:spPr>
          <a:xfrm>
            <a:off x="393193" y="6488643"/>
            <a:ext cx="1534267" cy="123824"/>
          </a:xfrm>
          <a:prstGeom prst="rect">
            <a:avLst/>
          </a:prstGeom>
        </p:spPr>
        <p:txBody>
          <a:bodyPr vert="horz" lIns="0" tIns="0" rIns="0" bIns="0" rtlCol="0" anchor="ctr"/>
          <a:lstStyle>
            <a:lvl1pPr algn="l">
              <a:defRPr sz="525" baseline="0">
                <a:solidFill>
                  <a:schemeClr val="tx1"/>
                </a:solidFill>
                <a:latin typeface="Arial" charset="0"/>
              </a:defRPr>
            </a:lvl1pPr>
          </a:lstStyle>
          <a:p>
            <a:fld id="{05D72C07-01EA-E84F-BF38-B6174041BB94}" type="datetime3">
              <a:rPr lang="en-US" altLang="ja-JP" smtClean="0"/>
              <a:t>22 August 2022</a:t>
            </a:fld>
            <a:endParaRPr lang="en-US" dirty="0"/>
          </a:p>
        </p:txBody>
      </p:sp>
      <p:sp>
        <p:nvSpPr>
          <p:cNvPr id="13" name="Footer Placeholder 4"/>
          <p:cNvSpPr>
            <a:spLocks noGrp="1"/>
          </p:cNvSpPr>
          <p:nvPr>
            <p:ph type="ftr" sz="quarter" idx="3"/>
          </p:nvPr>
        </p:nvSpPr>
        <p:spPr>
          <a:xfrm>
            <a:off x="2057400" y="6488643"/>
            <a:ext cx="4114800" cy="123824"/>
          </a:xfrm>
          <a:prstGeom prst="rect">
            <a:avLst/>
          </a:prstGeom>
        </p:spPr>
        <p:txBody>
          <a:bodyPr vert="horz" lIns="0" tIns="0" rIns="0" bIns="0" rtlCol="0" anchor="ctr"/>
          <a:lstStyle>
            <a:lvl1pPr algn="l">
              <a:defRPr sz="525">
                <a:solidFill>
                  <a:schemeClr val="tx1"/>
                </a:solidFill>
                <a:latin typeface="Arial"/>
              </a:defRPr>
            </a:lvl1pPr>
          </a:lstStyle>
          <a:p>
            <a:r>
              <a:rPr lang="en-US" dirty="0"/>
              <a:t>© 2017.  All rights reserved.          Proprietary and confidential </a:t>
            </a:r>
          </a:p>
        </p:txBody>
      </p:sp>
      <p:sp>
        <p:nvSpPr>
          <p:cNvPr id="14" name="Slide Number Placeholder 5"/>
          <p:cNvSpPr>
            <a:spLocks noGrp="1"/>
          </p:cNvSpPr>
          <p:nvPr>
            <p:ph type="sldNum" sz="quarter" idx="4"/>
          </p:nvPr>
        </p:nvSpPr>
        <p:spPr>
          <a:xfrm>
            <a:off x="11348720" y="6477001"/>
            <a:ext cx="458072" cy="123824"/>
          </a:xfrm>
          <a:prstGeom prst="rect">
            <a:avLst/>
          </a:prstGeom>
        </p:spPr>
        <p:txBody>
          <a:bodyPr vert="horz" lIns="0" tIns="0" rIns="0" bIns="45720" rtlCol="0" anchor="ctr"/>
          <a:lstStyle>
            <a:lvl1pPr algn="r">
              <a:defRPr sz="600" baseline="0">
                <a:solidFill>
                  <a:schemeClr val="tx1"/>
                </a:solidFill>
                <a:latin typeface="Arial" charset="0"/>
              </a:defRPr>
            </a:lvl1pPr>
          </a:lstStyle>
          <a:p>
            <a:fld id="{84023F24-2D24-694A-BE58-6F02E6BB7680}" type="slidenum">
              <a:rPr lang="en-US" smtClean="0"/>
              <a:pPr/>
              <a:t>‹#›</a:t>
            </a:fld>
            <a:endParaRPr lang="en-US" dirty="0"/>
          </a:p>
        </p:txBody>
      </p:sp>
    </p:spTree>
    <p:extLst>
      <p:ext uri="{BB962C8B-B14F-4D97-AF65-F5344CB8AC3E}">
        <p14:creationId xmlns:p14="http://schemas.microsoft.com/office/powerpoint/2010/main" val="41925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CF139DB-28A0-F44F-8966-C263507C74E3}"/>
              </a:ext>
            </a:extLst>
          </p:cNvPr>
          <p:cNvSpPr txBox="1"/>
          <p:nvPr userDrawn="1"/>
        </p:nvSpPr>
        <p:spPr>
          <a:xfrm>
            <a:off x="482712" y="6389493"/>
            <a:ext cx="11069208" cy="230832"/>
          </a:xfrm>
          <a:prstGeom prst="rect">
            <a:avLst/>
          </a:prstGeom>
          <a:noFill/>
        </p:spPr>
        <p:txBody>
          <a:bodyPr wrap="square" rtlCol="0">
            <a:spAutoFit/>
          </a:bodyPr>
          <a:lstStyle/>
          <a:p>
            <a:pPr algn="r"/>
            <a:r>
              <a:rPr lang="en-US" sz="900" b="0" dirty="0">
                <a:solidFill>
                  <a:schemeClr val="bg1">
                    <a:lumMod val="50000"/>
                  </a:schemeClr>
                </a:solidFill>
              </a:rPr>
              <a:t>﻿</a:t>
            </a:r>
            <a:r>
              <a:rPr lang="en-US" sz="900" b="0" dirty="0">
                <a:solidFill>
                  <a:schemeClr val="tx1">
                    <a:lumMod val="60000"/>
                    <a:lumOff val="40000"/>
                  </a:schemeClr>
                </a:solidFill>
              </a:rPr>
              <a:t>Source</a:t>
            </a:r>
            <a:r>
              <a:rPr lang="en-US" sz="900" b="0" dirty="0">
                <a:solidFill>
                  <a:schemeClr val="bg1">
                    <a:lumMod val="50000"/>
                  </a:schemeClr>
                </a:solidFill>
              </a:rPr>
              <a:t>: STR. 2022 © CoStar Realty Information, Inc.</a:t>
            </a:r>
          </a:p>
        </p:txBody>
      </p:sp>
    </p:spTree>
    <p:extLst>
      <p:ext uri="{BB962C8B-B14F-4D97-AF65-F5344CB8AC3E}">
        <p14:creationId xmlns:p14="http://schemas.microsoft.com/office/powerpoint/2010/main" val="2276811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City Data">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DB1EA23-B4BB-0247-B20B-E7E95A03787D}"/>
              </a:ext>
            </a:extLst>
          </p:cNvPr>
          <p:cNvSpPr>
            <a:spLocks noGrp="1"/>
          </p:cNvSpPr>
          <p:nvPr>
            <p:ph type="pic" sz="quarter" idx="10"/>
          </p:nvPr>
        </p:nvSpPr>
        <p:spPr>
          <a:xfrm>
            <a:off x="-49695" y="-9939"/>
            <a:ext cx="12299044" cy="6918212"/>
          </a:xfrm>
          <a:prstGeom prst="rect">
            <a:avLst/>
          </a:prstGeom>
          <a:solidFill>
            <a:schemeClr val="bg1"/>
          </a:solidFill>
        </p:spPr>
        <p:txBody>
          <a:bodyPr/>
          <a:lstStyle/>
          <a:p>
            <a:r>
              <a:rPr lang="en-US"/>
              <a:t>Click icon to add picture</a:t>
            </a:r>
          </a:p>
        </p:txBody>
      </p:sp>
      <p:sp>
        <p:nvSpPr>
          <p:cNvPr id="15" name="Gradient">
            <a:extLst>
              <a:ext uri="{FF2B5EF4-FFF2-40B4-BE49-F238E27FC236}">
                <a16:creationId xmlns:a16="http://schemas.microsoft.com/office/drawing/2014/main" id="{1C1EC318-497A-4344-97E4-249BB31CC511}"/>
              </a:ext>
            </a:extLst>
          </p:cNvPr>
          <p:cNvSpPr/>
          <p:nvPr userDrawn="1"/>
        </p:nvSpPr>
        <p:spPr>
          <a:xfrm>
            <a:off x="-62826" y="-56259"/>
            <a:ext cx="12363265" cy="6973703"/>
          </a:xfrm>
          <a:custGeom>
            <a:avLst/>
            <a:gdLst>
              <a:gd name="connsiteX0" fmla="*/ 6655033 w 24377650"/>
              <a:gd name="connsiteY0" fmla="*/ 2253637 h 13716000"/>
              <a:gd name="connsiteX1" fmla="*/ 1239223 w 24377650"/>
              <a:gd name="connsiteY1" fmla="*/ 7669447 h 13716000"/>
              <a:gd name="connsiteX2" fmla="*/ 6655033 w 24377650"/>
              <a:gd name="connsiteY2" fmla="*/ 13085257 h 13716000"/>
              <a:gd name="connsiteX3" fmla="*/ 12070842 w 24377650"/>
              <a:gd name="connsiteY3" fmla="*/ 7669447 h 13716000"/>
              <a:gd name="connsiteX4" fmla="*/ 6655033 w 24377650"/>
              <a:gd name="connsiteY4" fmla="*/ 2253637 h 13716000"/>
              <a:gd name="connsiteX5" fmla="*/ 0 w 24377650"/>
              <a:gd name="connsiteY5" fmla="*/ 0 h 13716000"/>
              <a:gd name="connsiteX6" fmla="*/ 24377650 w 24377650"/>
              <a:gd name="connsiteY6" fmla="*/ 0 h 13716000"/>
              <a:gd name="connsiteX7" fmla="*/ 24377650 w 24377650"/>
              <a:gd name="connsiteY7" fmla="*/ 13716000 h 13716000"/>
              <a:gd name="connsiteX8" fmla="*/ 0 w 24377650"/>
              <a:gd name="connsiteY8" fmla="*/ 13716000 h 13716000"/>
              <a:gd name="connsiteX0" fmla="*/ 6655033 w 24377650"/>
              <a:gd name="connsiteY0" fmla="*/ 2253637 h 14525468"/>
              <a:gd name="connsiteX1" fmla="*/ 1239223 w 24377650"/>
              <a:gd name="connsiteY1" fmla="*/ 7669447 h 14525468"/>
              <a:gd name="connsiteX2" fmla="*/ 6655033 w 24377650"/>
              <a:gd name="connsiteY2" fmla="*/ 13085257 h 14525468"/>
              <a:gd name="connsiteX3" fmla="*/ 12070842 w 24377650"/>
              <a:gd name="connsiteY3" fmla="*/ 7669447 h 14525468"/>
              <a:gd name="connsiteX4" fmla="*/ 6655033 w 24377650"/>
              <a:gd name="connsiteY4" fmla="*/ 2253637 h 14525468"/>
              <a:gd name="connsiteX5" fmla="*/ 0 w 24377650"/>
              <a:gd name="connsiteY5" fmla="*/ 0 h 14525468"/>
              <a:gd name="connsiteX6" fmla="*/ 24377650 w 24377650"/>
              <a:gd name="connsiteY6" fmla="*/ 0 h 14525468"/>
              <a:gd name="connsiteX7" fmla="*/ 24377650 w 24377650"/>
              <a:gd name="connsiteY7" fmla="*/ 13716000 h 14525468"/>
              <a:gd name="connsiteX8" fmla="*/ 0 w 24377650"/>
              <a:gd name="connsiteY8" fmla="*/ 14525468 h 14525468"/>
              <a:gd name="connsiteX9" fmla="*/ 0 w 24377650"/>
              <a:gd name="connsiteY9" fmla="*/ 0 h 14525468"/>
              <a:gd name="connsiteX0" fmla="*/ 6655033 w 24377650"/>
              <a:gd name="connsiteY0" fmla="*/ 2253637 h 14555450"/>
              <a:gd name="connsiteX1" fmla="*/ 1239223 w 24377650"/>
              <a:gd name="connsiteY1" fmla="*/ 7669447 h 14555450"/>
              <a:gd name="connsiteX2" fmla="*/ 6655033 w 24377650"/>
              <a:gd name="connsiteY2" fmla="*/ 13085257 h 14555450"/>
              <a:gd name="connsiteX3" fmla="*/ 12070842 w 24377650"/>
              <a:gd name="connsiteY3" fmla="*/ 7669447 h 14555450"/>
              <a:gd name="connsiteX4" fmla="*/ 6655033 w 24377650"/>
              <a:gd name="connsiteY4" fmla="*/ 2253637 h 14555450"/>
              <a:gd name="connsiteX5" fmla="*/ 0 w 24377650"/>
              <a:gd name="connsiteY5" fmla="*/ 0 h 14555450"/>
              <a:gd name="connsiteX6" fmla="*/ 24377650 w 24377650"/>
              <a:gd name="connsiteY6" fmla="*/ 0 h 14555450"/>
              <a:gd name="connsiteX7" fmla="*/ 24287708 w 24377650"/>
              <a:gd name="connsiteY7" fmla="*/ 14555450 h 14555450"/>
              <a:gd name="connsiteX8" fmla="*/ 0 w 24377650"/>
              <a:gd name="connsiteY8" fmla="*/ 14525468 h 14555450"/>
              <a:gd name="connsiteX9" fmla="*/ 0 w 24377650"/>
              <a:gd name="connsiteY9" fmla="*/ 0 h 14555450"/>
              <a:gd name="connsiteX0" fmla="*/ 6685013 w 24407630"/>
              <a:gd name="connsiteY0" fmla="*/ 2253637 h 14555450"/>
              <a:gd name="connsiteX1" fmla="*/ 1269203 w 24407630"/>
              <a:gd name="connsiteY1" fmla="*/ 7669447 h 14555450"/>
              <a:gd name="connsiteX2" fmla="*/ 6685013 w 24407630"/>
              <a:gd name="connsiteY2" fmla="*/ 13085257 h 14555450"/>
              <a:gd name="connsiteX3" fmla="*/ 12100822 w 24407630"/>
              <a:gd name="connsiteY3" fmla="*/ 7669447 h 14555450"/>
              <a:gd name="connsiteX4" fmla="*/ 6685013 w 24407630"/>
              <a:gd name="connsiteY4" fmla="*/ 2253637 h 14555450"/>
              <a:gd name="connsiteX5" fmla="*/ 0 w 24407630"/>
              <a:gd name="connsiteY5" fmla="*/ 989350 h 14555450"/>
              <a:gd name="connsiteX6" fmla="*/ 24407630 w 24407630"/>
              <a:gd name="connsiteY6" fmla="*/ 0 h 14555450"/>
              <a:gd name="connsiteX7" fmla="*/ 24317688 w 24407630"/>
              <a:gd name="connsiteY7" fmla="*/ 14555450 h 14555450"/>
              <a:gd name="connsiteX8" fmla="*/ 29980 w 24407630"/>
              <a:gd name="connsiteY8" fmla="*/ 14525468 h 14555450"/>
              <a:gd name="connsiteX9" fmla="*/ 0 w 24407630"/>
              <a:gd name="connsiteY9" fmla="*/ 989350 h 14555450"/>
              <a:gd name="connsiteX0" fmla="*/ 6685013 w 24407630"/>
              <a:gd name="connsiteY0" fmla="*/ 2253637 h 14555450"/>
              <a:gd name="connsiteX1" fmla="*/ 1269203 w 24407630"/>
              <a:gd name="connsiteY1" fmla="*/ 7669447 h 14555450"/>
              <a:gd name="connsiteX2" fmla="*/ 6685013 w 24407630"/>
              <a:gd name="connsiteY2" fmla="*/ 13085257 h 14555450"/>
              <a:gd name="connsiteX3" fmla="*/ 12100822 w 24407630"/>
              <a:gd name="connsiteY3" fmla="*/ 7669447 h 14555450"/>
              <a:gd name="connsiteX4" fmla="*/ 6685013 w 24407630"/>
              <a:gd name="connsiteY4" fmla="*/ 2253637 h 14555450"/>
              <a:gd name="connsiteX5" fmla="*/ 0 w 24407630"/>
              <a:gd name="connsiteY5" fmla="*/ 869428 h 14555450"/>
              <a:gd name="connsiteX6" fmla="*/ 24407630 w 24407630"/>
              <a:gd name="connsiteY6" fmla="*/ 0 h 14555450"/>
              <a:gd name="connsiteX7" fmla="*/ 24317688 w 24407630"/>
              <a:gd name="connsiteY7" fmla="*/ 14555450 h 14555450"/>
              <a:gd name="connsiteX8" fmla="*/ 29980 w 24407630"/>
              <a:gd name="connsiteY8" fmla="*/ 14525468 h 14555450"/>
              <a:gd name="connsiteX9" fmla="*/ 0 w 24407630"/>
              <a:gd name="connsiteY9" fmla="*/ 869428 h 14555450"/>
              <a:gd name="connsiteX0" fmla="*/ 6685013 w 24317688"/>
              <a:gd name="connsiteY0" fmla="*/ 1384209 h 13686022"/>
              <a:gd name="connsiteX1" fmla="*/ 1269203 w 24317688"/>
              <a:gd name="connsiteY1" fmla="*/ 6800019 h 13686022"/>
              <a:gd name="connsiteX2" fmla="*/ 6685013 w 24317688"/>
              <a:gd name="connsiteY2" fmla="*/ 12215829 h 13686022"/>
              <a:gd name="connsiteX3" fmla="*/ 12100822 w 24317688"/>
              <a:gd name="connsiteY3" fmla="*/ 6800019 h 13686022"/>
              <a:gd name="connsiteX4" fmla="*/ 6685013 w 24317688"/>
              <a:gd name="connsiteY4" fmla="*/ 1384209 h 13686022"/>
              <a:gd name="connsiteX5" fmla="*/ 0 w 24317688"/>
              <a:gd name="connsiteY5" fmla="*/ 0 h 13686022"/>
              <a:gd name="connsiteX6" fmla="*/ 24317688 w 24317688"/>
              <a:gd name="connsiteY6" fmla="*/ 1558978 h 13686022"/>
              <a:gd name="connsiteX7" fmla="*/ 24317688 w 24317688"/>
              <a:gd name="connsiteY7" fmla="*/ 13686022 h 13686022"/>
              <a:gd name="connsiteX8" fmla="*/ 29980 w 24317688"/>
              <a:gd name="connsiteY8" fmla="*/ 13656040 h 13686022"/>
              <a:gd name="connsiteX9" fmla="*/ 0 w 24317688"/>
              <a:gd name="connsiteY9" fmla="*/ 0 h 13686022"/>
              <a:gd name="connsiteX0" fmla="*/ 6685013 w 24377648"/>
              <a:gd name="connsiteY0" fmla="*/ 1414189 h 13716002"/>
              <a:gd name="connsiteX1" fmla="*/ 1269203 w 24377648"/>
              <a:gd name="connsiteY1" fmla="*/ 6829999 h 13716002"/>
              <a:gd name="connsiteX2" fmla="*/ 6685013 w 24377648"/>
              <a:gd name="connsiteY2" fmla="*/ 12245809 h 13716002"/>
              <a:gd name="connsiteX3" fmla="*/ 12100822 w 24377648"/>
              <a:gd name="connsiteY3" fmla="*/ 6829999 h 13716002"/>
              <a:gd name="connsiteX4" fmla="*/ 6685013 w 24377648"/>
              <a:gd name="connsiteY4" fmla="*/ 1414189 h 13716002"/>
              <a:gd name="connsiteX5" fmla="*/ 0 w 24377648"/>
              <a:gd name="connsiteY5" fmla="*/ 29980 h 13716002"/>
              <a:gd name="connsiteX6" fmla="*/ 24377648 w 24377648"/>
              <a:gd name="connsiteY6" fmla="*/ 0 h 13716002"/>
              <a:gd name="connsiteX7" fmla="*/ 24317688 w 24377648"/>
              <a:gd name="connsiteY7" fmla="*/ 13716002 h 13716002"/>
              <a:gd name="connsiteX8" fmla="*/ 29980 w 24377648"/>
              <a:gd name="connsiteY8" fmla="*/ 13686020 h 13716002"/>
              <a:gd name="connsiteX9" fmla="*/ 0 w 24377648"/>
              <a:gd name="connsiteY9" fmla="*/ 29980 h 13716002"/>
              <a:gd name="connsiteX0" fmla="*/ 6714993 w 24407628"/>
              <a:gd name="connsiteY0" fmla="*/ 1474149 h 13775962"/>
              <a:gd name="connsiteX1" fmla="*/ 1299183 w 24407628"/>
              <a:gd name="connsiteY1" fmla="*/ 6889959 h 13775962"/>
              <a:gd name="connsiteX2" fmla="*/ 6714993 w 24407628"/>
              <a:gd name="connsiteY2" fmla="*/ 12305769 h 13775962"/>
              <a:gd name="connsiteX3" fmla="*/ 12130802 w 24407628"/>
              <a:gd name="connsiteY3" fmla="*/ 6889959 h 13775962"/>
              <a:gd name="connsiteX4" fmla="*/ 6714993 w 24407628"/>
              <a:gd name="connsiteY4" fmla="*/ 1474149 h 13775962"/>
              <a:gd name="connsiteX5" fmla="*/ 0 w 24407628"/>
              <a:gd name="connsiteY5" fmla="*/ 0 h 13775962"/>
              <a:gd name="connsiteX6" fmla="*/ 24407628 w 24407628"/>
              <a:gd name="connsiteY6" fmla="*/ 59960 h 13775962"/>
              <a:gd name="connsiteX7" fmla="*/ 24347668 w 24407628"/>
              <a:gd name="connsiteY7" fmla="*/ 13775962 h 13775962"/>
              <a:gd name="connsiteX8" fmla="*/ 59960 w 24407628"/>
              <a:gd name="connsiteY8" fmla="*/ 13745980 h 13775962"/>
              <a:gd name="connsiteX9" fmla="*/ 0 w 24407628"/>
              <a:gd name="connsiteY9" fmla="*/ 0 h 13775962"/>
              <a:gd name="connsiteX0" fmla="*/ 6714993 w 24407628"/>
              <a:gd name="connsiteY0" fmla="*/ 1414189 h 13716002"/>
              <a:gd name="connsiteX1" fmla="*/ 1299183 w 24407628"/>
              <a:gd name="connsiteY1" fmla="*/ 6829999 h 13716002"/>
              <a:gd name="connsiteX2" fmla="*/ 6714993 w 24407628"/>
              <a:gd name="connsiteY2" fmla="*/ 12245809 h 13716002"/>
              <a:gd name="connsiteX3" fmla="*/ 12130802 w 24407628"/>
              <a:gd name="connsiteY3" fmla="*/ 6829999 h 13716002"/>
              <a:gd name="connsiteX4" fmla="*/ 6714993 w 24407628"/>
              <a:gd name="connsiteY4" fmla="*/ 1414189 h 13716002"/>
              <a:gd name="connsiteX5" fmla="*/ 0 w 24407628"/>
              <a:gd name="connsiteY5" fmla="*/ 29980 h 13716002"/>
              <a:gd name="connsiteX6" fmla="*/ 24407628 w 24407628"/>
              <a:gd name="connsiteY6" fmla="*/ 0 h 13716002"/>
              <a:gd name="connsiteX7" fmla="*/ 24347668 w 24407628"/>
              <a:gd name="connsiteY7" fmla="*/ 13716002 h 13716002"/>
              <a:gd name="connsiteX8" fmla="*/ 59960 w 24407628"/>
              <a:gd name="connsiteY8" fmla="*/ 13686020 h 13716002"/>
              <a:gd name="connsiteX9" fmla="*/ 0 w 24407628"/>
              <a:gd name="connsiteY9" fmla="*/ 29980 h 13716002"/>
              <a:gd name="connsiteX0" fmla="*/ 6746301 w 24438936"/>
              <a:gd name="connsiteY0" fmla="*/ 1414189 h 13716002"/>
              <a:gd name="connsiteX1" fmla="*/ 1330491 w 24438936"/>
              <a:gd name="connsiteY1" fmla="*/ 6829999 h 13716002"/>
              <a:gd name="connsiteX2" fmla="*/ 6746301 w 24438936"/>
              <a:gd name="connsiteY2" fmla="*/ 12245809 h 13716002"/>
              <a:gd name="connsiteX3" fmla="*/ 12162110 w 24438936"/>
              <a:gd name="connsiteY3" fmla="*/ 6829999 h 13716002"/>
              <a:gd name="connsiteX4" fmla="*/ 6746301 w 24438936"/>
              <a:gd name="connsiteY4" fmla="*/ 1414189 h 13716002"/>
              <a:gd name="connsiteX5" fmla="*/ 31308 w 24438936"/>
              <a:gd name="connsiteY5" fmla="*/ 29980 h 13716002"/>
              <a:gd name="connsiteX6" fmla="*/ 24438936 w 24438936"/>
              <a:gd name="connsiteY6" fmla="*/ 0 h 13716002"/>
              <a:gd name="connsiteX7" fmla="*/ 24378976 w 24438936"/>
              <a:gd name="connsiteY7" fmla="*/ 13716002 h 13716002"/>
              <a:gd name="connsiteX8" fmla="*/ 1328 w 24438936"/>
              <a:gd name="connsiteY8" fmla="*/ 13686020 h 13716002"/>
              <a:gd name="connsiteX9" fmla="*/ 31308 w 24438936"/>
              <a:gd name="connsiteY9" fmla="*/ 29980 h 13716002"/>
              <a:gd name="connsiteX0" fmla="*/ 6746301 w 24498896"/>
              <a:gd name="connsiteY0" fmla="*/ 1414189 h 13716002"/>
              <a:gd name="connsiteX1" fmla="*/ 1330491 w 24498896"/>
              <a:gd name="connsiteY1" fmla="*/ 6829999 h 13716002"/>
              <a:gd name="connsiteX2" fmla="*/ 6746301 w 24498896"/>
              <a:gd name="connsiteY2" fmla="*/ 12245809 h 13716002"/>
              <a:gd name="connsiteX3" fmla="*/ 12162110 w 24498896"/>
              <a:gd name="connsiteY3" fmla="*/ 6829999 h 13716002"/>
              <a:gd name="connsiteX4" fmla="*/ 6746301 w 24498896"/>
              <a:gd name="connsiteY4" fmla="*/ 1414189 h 13716002"/>
              <a:gd name="connsiteX5" fmla="*/ 31308 w 24498896"/>
              <a:gd name="connsiteY5" fmla="*/ 29980 h 13716002"/>
              <a:gd name="connsiteX6" fmla="*/ 24438936 w 24498896"/>
              <a:gd name="connsiteY6" fmla="*/ 0 h 13716002"/>
              <a:gd name="connsiteX7" fmla="*/ 24498896 w 24498896"/>
              <a:gd name="connsiteY7" fmla="*/ 13716002 h 13716002"/>
              <a:gd name="connsiteX8" fmla="*/ 1328 w 24498896"/>
              <a:gd name="connsiteY8" fmla="*/ 13686020 h 13716002"/>
              <a:gd name="connsiteX9" fmla="*/ 31308 w 24498896"/>
              <a:gd name="connsiteY9" fmla="*/ 29980 h 13716002"/>
              <a:gd name="connsiteX0" fmla="*/ 6746301 w 24468916"/>
              <a:gd name="connsiteY0" fmla="*/ 1414189 h 13745982"/>
              <a:gd name="connsiteX1" fmla="*/ 1330491 w 24468916"/>
              <a:gd name="connsiteY1" fmla="*/ 6829999 h 13745982"/>
              <a:gd name="connsiteX2" fmla="*/ 6746301 w 24468916"/>
              <a:gd name="connsiteY2" fmla="*/ 12245809 h 13745982"/>
              <a:gd name="connsiteX3" fmla="*/ 12162110 w 24468916"/>
              <a:gd name="connsiteY3" fmla="*/ 6829999 h 13745982"/>
              <a:gd name="connsiteX4" fmla="*/ 6746301 w 24468916"/>
              <a:gd name="connsiteY4" fmla="*/ 1414189 h 13745982"/>
              <a:gd name="connsiteX5" fmla="*/ 31308 w 24468916"/>
              <a:gd name="connsiteY5" fmla="*/ 29980 h 13745982"/>
              <a:gd name="connsiteX6" fmla="*/ 24438936 w 24468916"/>
              <a:gd name="connsiteY6" fmla="*/ 0 h 13745982"/>
              <a:gd name="connsiteX7" fmla="*/ 24468916 w 24468916"/>
              <a:gd name="connsiteY7" fmla="*/ 13745982 h 13745982"/>
              <a:gd name="connsiteX8" fmla="*/ 1328 w 24468916"/>
              <a:gd name="connsiteY8" fmla="*/ 13686020 h 13745982"/>
              <a:gd name="connsiteX9" fmla="*/ 31308 w 24468916"/>
              <a:gd name="connsiteY9" fmla="*/ 29980 h 13745982"/>
              <a:gd name="connsiteX0" fmla="*/ 6746301 w 24529744"/>
              <a:gd name="connsiteY0" fmla="*/ 1444169 h 13775962"/>
              <a:gd name="connsiteX1" fmla="*/ 1330491 w 24529744"/>
              <a:gd name="connsiteY1" fmla="*/ 6859979 h 13775962"/>
              <a:gd name="connsiteX2" fmla="*/ 6746301 w 24529744"/>
              <a:gd name="connsiteY2" fmla="*/ 12275789 h 13775962"/>
              <a:gd name="connsiteX3" fmla="*/ 12162110 w 24529744"/>
              <a:gd name="connsiteY3" fmla="*/ 6859979 h 13775962"/>
              <a:gd name="connsiteX4" fmla="*/ 6746301 w 24529744"/>
              <a:gd name="connsiteY4" fmla="*/ 1444169 h 13775962"/>
              <a:gd name="connsiteX5" fmla="*/ 31308 w 24529744"/>
              <a:gd name="connsiteY5" fmla="*/ 59960 h 13775962"/>
              <a:gd name="connsiteX6" fmla="*/ 24528878 w 24529744"/>
              <a:gd name="connsiteY6" fmla="*/ 0 h 13775962"/>
              <a:gd name="connsiteX7" fmla="*/ 24468916 w 24529744"/>
              <a:gd name="connsiteY7" fmla="*/ 13775962 h 13775962"/>
              <a:gd name="connsiteX8" fmla="*/ 1328 w 24529744"/>
              <a:gd name="connsiteY8" fmla="*/ 13716000 h 13775962"/>
              <a:gd name="connsiteX9" fmla="*/ 31308 w 24529744"/>
              <a:gd name="connsiteY9" fmla="*/ 59960 h 13775962"/>
              <a:gd name="connsiteX0" fmla="*/ 6746301 w 24533094"/>
              <a:gd name="connsiteY0" fmla="*/ 1444169 h 13775962"/>
              <a:gd name="connsiteX1" fmla="*/ 1330491 w 24533094"/>
              <a:gd name="connsiteY1" fmla="*/ 6859979 h 13775962"/>
              <a:gd name="connsiteX2" fmla="*/ 6746301 w 24533094"/>
              <a:gd name="connsiteY2" fmla="*/ 12275789 h 13775962"/>
              <a:gd name="connsiteX3" fmla="*/ 12162110 w 24533094"/>
              <a:gd name="connsiteY3" fmla="*/ 6859979 h 13775962"/>
              <a:gd name="connsiteX4" fmla="*/ 6746301 w 24533094"/>
              <a:gd name="connsiteY4" fmla="*/ 1444169 h 13775962"/>
              <a:gd name="connsiteX5" fmla="*/ 31308 w 24533094"/>
              <a:gd name="connsiteY5" fmla="*/ 59960 h 13775962"/>
              <a:gd name="connsiteX6" fmla="*/ 24528878 w 24533094"/>
              <a:gd name="connsiteY6" fmla="*/ 0 h 13775962"/>
              <a:gd name="connsiteX7" fmla="*/ 24533094 w 24533094"/>
              <a:gd name="connsiteY7" fmla="*/ 13775962 h 13775962"/>
              <a:gd name="connsiteX8" fmla="*/ 1328 w 24533094"/>
              <a:gd name="connsiteY8" fmla="*/ 13716000 h 13775962"/>
              <a:gd name="connsiteX9" fmla="*/ 31308 w 24533094"/>
              <a:gd name="connsiteY9" fmla="*/ 59960 h 13775962"/>
              <a:gd name="connsiteX0" fmla="*/ 6746301 w 24533094"/>
              <a:gd name="connsiteY0" fmla="*/ 1444169 h 13779830"/>
              <a:gd name="connsiteX1" fmla="*/ 1330491 w 24533094"/>
              <a:gd name="connsiteY1" fmla="*/ 6859979 h 13779830"/>
              <a:gd name="connsiteX2" fmla="*/ 6746301 w 24533094"/>
              <a:gd name="connsiteY2" fmla="*/ 12275789 h 13779830"/>
              <a:gd name="connsiteX3" fmla="*/ 12162110 w 24533094"/>
              <a:gd name="connsiteY3" fmla="*/ 6859979 h 13779830"/>
              <a:gd name="connsiteX4" fmla="*/ 6746301 w 24533094"/>
              <a:gd name="connsiteY4" fmla="*/ 1444169 h 13779830"/>
              <a:gd name="connsiteX5" fmla="*/ 31308 w 24533094"/>
              <a:gd name="connsiteY5" fmla="*/ 59960 h 13779830"/>
              <a:gd name="connsiteX6" fmla="*/ 24528878 w 24533094"/>
              <a:gd name="connsiteY6" fmla="*/ 0 h 13779830"/>
              <a:gd name="connsiteX7" fmla="*/ 24533094 w 24533094"/>
              <a:gd name="connsiteY7" fmla="*/ 13775962 h 13779830"/>
              <a:gd name="connsiteX8" fmla="*/ 1328 w 24533094"/>
              <a:gd name="connsiteY8" fmla="*/ 13779830 h 13779830"/>
              <a:gd name="connsiteX9" fmla="*/ 31308 w 24533094"/>
              <a:gd name="connsiteY9" fmla="*/ 59960 h 13779830"/>
              <a:gd name="connsiteX0" fmla="*/ 6757777 w 24544570"/>
              <a:gd name="connsiteY0" fmla="*/ 1444169 h 13779830"/>
              <a:gd name="connsiteX1" fmla="*/ 1341967 w 24544570"/>
              <a:gd name="connsiteY1" fmla="*/ 6859979 h 13779830"/>
              <a:gd name="connsiteX2" fmla="*/ 6757777 w 24544570"/>
              <a:gd name="connsiteY2" fmla="*/ 12275789 h 13779830"/>
              <a:gd name="connsiteX3" fmla="*/ 12173586 w 24544570"/>
              <a:gd name="connsiteY3" fmla="*/ 6859979 h 13779830"/>
              <a:gd name="connsiteX4" fmla="*/ 6757777 w 24544570"/>
              <a:gd name="connsiteY4" fmla="*/ 1444169 h 13779830"/>
              <a:gd name="connsiteX5" fmla="*/ 0 w 24544570"/>
              <a:gd name="connsiteY5" fmla="*/ 17405 h 13779830"/>
              <a:gd name="connsiteX6" fmla="*/ 24540354 w 24544570"/>
              <a:gd name="connsiteY6" fmla="*/ 0 h 13779830"/>
              <a:gd name="connsiteX7" fmla="*/ 24544570 w 24544570"/>
              <a:gd name="connsiteY7" fmla="*/ 13775962 h 13779830"/>
              <a:gd name="connsiteX8" fmla="*/ 12804 w 24544570"/>
              <a:gd name="connsiteY8" fmla="*/ 13779830 h 13779830"/>
              <a:gd name="connsiteX9" fmla="*/ 0 w 24544570"/>
              <a:gd name="connsiteY9" fmla="*/ 17405 h 13779830"/>
              <a:gd name="connsiteX0" fmla="*/ 6745727 w 24532520"/>
              <a:gd name="connsiteY0" fmla="*/ 1444169 h 13779830"/>
              <a:gd name="connsiteX1" fmla="*/ 1329917 w 24532520"/>
              <a:gd name="connsiteY1" fmla="*/ 6859979 h 13779830"/>
              <a:gd name="connsiteX2" fmla="*/ 6745727 w 24532520"/>
              <a:gd name="connsiteY2" fmla="*/ 12275789 h 13779830"/>
              <a:gd name="connsiteX3" fmla="*/ 12161536 w 24532520"/>
              <a:gd name="connsiteY3" fmla="*/ 6859979 h 13779830"/>
              <a:gd name="connsiteX4" fmla="*/ 6745727 w 24532520"/>
              <a:gd name="connsiteY4" fmla="*/ 1444169 h 13779830"/>
              <a:gd name="connsiteX5" fmla="*/ 73518 w 24532520"/>
              <a:gd name="connsiteY5" fmla="*/ 17405 h 13779830"/>
              <a:gd name="connsiteX6" fmla="*/ 24528304 w 24532520"/>
              <a:gd name="connsiteY6" fmla="*/ 0 h 13779830"/>
              <a:gd name="connsiteX7" fmla="*/ 24532520 w 24532520"/>
              <a:gd name="connsiteY7" fmla="*/ 13775962 h 13779830"/>
              <a:gd name="connsiteX8" fmla="*/ 754 w 24532520"/>
              <a:gd name="connsiteY8" fmla="*/ 13779830 h 13779830"/>
              <a:gd name="connsiteX9" fmla="*/ 73518 w 24532520"/>
              <a:gd name="connsiteY9" fmla="*/ 17405 h 13779830"/>
              <a:gd name="connsiteX0" fmla="*/ 6747127 w 24533920"/>
              <a:gd name="connsiteY0" fmla="*/ 1444169 h 13779830"/>
              <a:gd name="connsiteX1" fmla="*/ 1331317 w 24533920"/>
              <a:gd name="connsiteY1" fmla="*/ 6859979 h 13779830"/>
              <a:gd name="connsiteX2" fmla="*/ 6747127 w 24533920"/>
              <a:gd name="connsiteY2" fmla="*/ 12275789 h 13779830"/>
              <a:gd name="connsiteX3" fmla="*/ 12162936 w 24533920"/>
              <a:gd name="connsiteY3" fmla="*/ 6859979 h 13779830"/>
              <a:gd name="connsiteX4" fmla="*/ 6747127 w 24533920"/>
              <a:gd name="connsiteY4" fmla="*/ 1444169 h 13779830"/>
              <a:gd name="connsiteX5" fmla="*/ 10744 w 24533920"/>
              <a:gd name="connsiteY5" fmla="*/ 38680 h 13779830"/>
              <a:gd name="connsiteX6" fmla="*/ 24529704 w 24533920"/>
              <a:gd name="connsiteY6" fmla="*/ 0 h 13779830"/>
              <a:gd name="connsiteX7" fmla="*/ 24533920 w 24533920"/>
              <a:gd name="connsiteY7" fmla="*/ 13775962 h 13779830"/>
              <a:gd name="connsiteX8" fmla="*/ 2154 w 24533920"/>
              <a:gd name="connsiteY8" fmla="*/ 13779830 h 13779830"/>
              <a:gd name="connsiteX9" fmla="*/ 10744 w 24533920"/>
              <a:gd name="connsiteY9" fmla="*/ 38680 h 13779830"/>
              <a:gd name="connsiteX0" fmla="*/ 6971697 w 24758490"/>
              <a:gd name="connsiteY0" fmla="*/ 1444169 h 13779830"/>
              <a:gd name="connsiteX1" fmla="*/ 1555887 w 24758490"/>
              <a:gd name="connsiteY1" fmla="*/ 6859979 h 13779830"/>
              <a:gd name="connsiteX2" fmla="*/ 6971697 w 24758490"/>
              <a:gd name="connsiteY2" fmla="*/ 12275789 h 13779830"/>
              <a:gd name="connsiteX3" fmla="*/ 12387506 w 24758490"/>
              <a:gd name="connsiteY3" fmla="*/ 6859979 h 13779830"/>
              <a:gd name="connsiteX4" fmla="*/ 6971697 w 24758490"/>
              <a:gd name="connsiteY4" fmla="*/ 1444169 h 13779830"/>
              <a:gd name="connsiteX5" fmla="*/ 0 w 24758490"/>
              <a:gd name="connsiteY5" fmla="*/ 59958 h 13779830"/>
              <a:gd name="connsiteX6" fmla="*/ 24754274 w 24758490"/>
              <a:gd name="connsiteY6" fmla="*/ 0 h 13779830"/>
              <a:gd name="connsiteX7" fmla="*/ 24758490 w 24758490"/>
              <a:gd name="connsiteY7" fmla="*/ 13775962 h 13779830"/>
              <a:gd name="connsiteX8" fmla="*/ 226724 w 24758490"/>
              <a:gd name="connsiteY8" fmla="*/ 13779830 h 13779830"/>
              <a:gd name="connsiteX9" fmla="*/ 0 w 24758490"/>
              <a:gd name="connsiteY9" fmla="*/ 59958 h 13779830"/>
              <a:gd name="connsiteX0" fmla="*/ 6746302 w 24533095"/>
              <a:gd name="connsiteY0" fmla="*/ 1444169 h 13779830"/>
              <a:gd name="connsiteX1" fmla="*/ 1330492 w 24533095"/>
              <a:gd name="connsiteY1" fmla="*/ 6859979 h 13779830"/>
              <a:gd name="connsiteX2" fmla="*/ 6746302 w 24533095"/>
              <a:gd name="connsiteY2" fmla="*/ 12275789 h 13779830"/>
              <a:gd name="connsiteX3" fmla="*/ 12162111 w 24533095"/>
              <a:gd name="connsiteY3" fmla="*/ 6859979 h 13779830"/>
              <a:gd name="connsiteX4" fmla="*/ 6746302 w 24533095"/>
              <a:gd name="connsiteY4" fmla="*/ 1444169 h 13779830"/>
              <a:gd name="connsiteX5" fmla="*/ 31312 w 24533095"/>
              <a:gd name="connsiteY5" fmla="*/ 17405 h 13779830"/>
              <a:gd name="connsiteX6" fmla="*/ 24528879 w 24533095"/>
              <a:gd name="connsiteY6" fmla="*/ 0 h 13779830"/>
              <a:gd name="connsiteX7" fmla="*/ 24533095 w 24533095"/>
              <a:gd name="connsiteY7" fmla="*/ 13775962 h 13779830"/>
              <a:gd name="connsiteX8" fmla="*/ 1329 w 24533095"/>
              <a:gd name="connsiteY8" fmla="*/ 13779830 h 13779830"/>
              <a:gd name="connsiteX9" fmla="*/ 31312 w 24533095"/>
              <a:gd name="connsiteY9" fmla="*/ 17405 h 13779830"/>
              <a:gd name="connsiteX0" fmla="*/ 6838287 w 24625080"/>
              <a:gd name="connsiteY0" fmla="*/ 1444169 h 13779830"/>
              <a:gd name="connsiteX1" fmla="*/ 1422477 w 24625080"/>
              <a:gd name="connsiteY1" fmla="*/ 6859979 h 13779830"/>
              <a:gd name="connsiteX2" fmla="*/ 6838287 w 24625080"/>
              <a:gd name="connsiteY2" fmla="*/ 12275789 h 13779830"/>
              <a:gd name="connsiteX3" fmla="*/ 12254096 w 24625080"/>
              <a:gd name="connsiteY3" fmla="*/ 6859979 h 13779830"/>
              <a:gd name="connsiteX4" fmla="*/ 6838287 w 24625080"/>
              <a:gd name="connsiteY4" fmla="*/ 1444169 h 13779830"/>
              <a:gd name="connsiteX5" fmla="*/ 0 w 24625080"/>
              <a:gd name="connsiteY5" fmla="*/ 91486 h 13779830"/>
              <a:gd name="connsiteX6" fmla="*/ 24620864 w 24625080"/>
              <a:gd name="connsiteY6" fmla="*/ 0 h 13779830"/>
              <a:gd name="connsiteX7" fmla="*/ 24625080 w 24625080"/>
              <a:gd name="connsiteY7" fmla="*/ 13775962 h 13779830"/>
              <a:gd name="connsiteX8" fmla="*/ 93314 w 24625080"/>
              <a:gd name="connsiteY8" fmla="*/ 13779830 h 13779830"/>
              <a:gd name="connsiteX9" fmla="*/ 0 w 24625080"/>
              <a:gd name="connsiteY9" fmla="*/ 91486 h 13779830"/>
              <a:gd name="connsiteX0" fmla="*/ 6747642 w 24534435"/>
              <a:gd name="connsiteY0" fmla="*/ 1444169 h 13779830"/>
              <a:gd name="connsiteX1" fmla="*/ 1331832 w 24534435"/>
              <a:gd name="connsiteY1" fmla="*/ 6859979 h 13779830"/>
              <a:gd name="connsiteX2" fmla="*/ 6747642 w 24534435"/>
              <a:gd name="connsiteY2" fmla="*/ 12275789 h 13779830"/>
              <a:gd name="connsiteX3" fmla="*/ 12163451 w 24534435"/>
              <a:gd name="connsiteY3" fmla="*/ 6859979 h 13779830"/>
              <a:gd name="connsiteX4" fmla="*/ 6747642 w 24534435"/>
              <a:gd name="connsiteY4" fmla="*/ 1444169 h 13779830"/>
              <a:gd name="connsiteX5" fmla="*/ 4693 w 24534435"/>
              <a:gd name="connsiteY5" fmla="*/ 117604 h 13779830"/>
              <a:gd name="connsiteX6" fmla="*/ 24530219 w 24534435"/>
              <a:gd name="connsiteY6" fmla="*/ 0 h 13779830"/>
              <a:gd name="connsiteX7" fmla="*/ 24534435 w 24534435"/>
              <a:gd name="connsiteY7" fmla="*/ 13775962 h 13779830"/>
              <a:gd name="connsiteX8" fmla="*/ 2669 w 24534435"/>
              <a:gd name="connsiteY8" fmla="*/ 13779830 h 13779830"/>
              <a:gd name="connsiteX9" fmla="*/ 4693 w 24534435"/>
              <a:gd name="connsiteY9" fmla="*/ 117604 h 13779830"/>
              <a:gd name="connsiteX0" fmla="*/ 6745620 w 24532413"/>
              <a:gd name="connsiteY0" fmla="*/ 1444169 h 13779830"/>
              <a:gd name="connsiteX1" fmla="*/ 1329810 w 24532413"/>
              <a:gd name="connsiteY1" fmla="*/ 6859979 h 13779830"/>
              <a:gd name="connsiteX2" fmla="*/ 6745620 w 24532413"/>
              <a:gd name="connsiteY2" fmla="*/ 12275789 h 13779830"/>
              <a:gd name="connsiteX3" fmla="*/ 12161429 w 24532413"/>
              <a:gd name="connsiteY3" fmla="*/ 6859979 h 13779830"/>
              <a:gd name="connsiteX4" fmla="*/ 6745620 w 24532413"/>
              <a:gd name="connsiteY4" fmla="*/ 1444169 h 13779830"/>
              <a:gd name="connsiteX5" fmla="*/ 89963 w 24532413"/>
              <a:gd name="connsiteY5" fmla="*/ 91486 h 13779830"/>
              <a:gd name="connsiteX6" fmla="*/ 24528197 w 24532413"/>
              <a:gd name="connsiteY6" fmla="*/ 0 h 13779830"/>
              <a:gd name="connsiteX7" fmla="*/ 24532413 w 24532413"/>
              <a:gd name="connsiteY7" fmla="*/ 13775962 h 13779830"/>
              <a:gd name="connsiteX8" fmla="*/ 647 w 24532413"/>
              <a:gd name="connsiteY8" fmla="*/ 13779830 h 13779830"/>
              <a:gd name="connsiteX9" fmla="*/ 89963 w 24532413"/>
              <a:gd name="connsiteY9" fmla="*/ 91486 h 13779830"/>
              <a:gd name="connsiteX0" fmla="*/ 6837605 w 24624398"/>
              <a:gd name="connsiteY0" fmla="*/ 1444169 h 13779830"/>
              <a:gd name="connsiteX1" fmla="*/ 1421795 w 24624398"/>
              <a:gd name="connsiteY1" fmla="*/ 6859979 h 13779830"/>
              <a:gd name="connsiteX2" fmla="*/ 6837605 w 24624398"/>
              <a:gd name="connsiteY2" fmla="*/ 12275789 h 13779830"/>
              <a:gd name="connsiteX3" fmla="*/ 12253414 w 24624398"/>
              <a:gd name="connsiteY3" fmla="*/ 6859979 h 13779830"/>
              <a:gd name="connsiteX4" fmla="*/ 6837605 w 24624398"/>
              <a:gd name="connsiteY4" fmla="*/ 1444169 h 13779830"/>
              <a:gd name="connsiteX5" fmla="*/ 0 w 24624398"/>
              <a:gd name="connsiteY5" fmla="*/ 91486 h 13779830"/>
              <a:gd name="connsiteX6" fmla="*/ 24620182 w 24624398"/>
              <a:gd name="connsiteY6" fmla="*/ 0 h 13779830"/>
              <a:gd name="connsiteX7" fmla="*/ 24624398 w 24624398"/>
              <a:gd name="connsiteY7" fmla="*/ 13775962 h 13779830"/>
              <a:gd name="connsiteX8" fmla="*/ 92632 w 24624398"/>
              <a:gd name="connsiteY8" fmla="*/ 13779830 h 13779830"/>
              <a:gd name="connsiteX9" fmla="*/ 0 w 24624398"/>
              <a:gd name="connsiteY9" fmla="*/ 91486 h 13779830"/>
              <a:gd name="connsiteX0" fmla="*/ 6747934 w 24534727"/>
              <a:gd name="connsiteY0" fmla="*/ 1444169 h 13779830"/>
              <a:gd name="connsiteX1" fmla="*/ 1332124 w 24534727"/>
              <a:gd name="connsiteY1" fmla="*/ 6859979 h 13779830"/>
              <a:gd name="connsiteX2" fmla="*/ 6747934 w 24534727"/>
              <a:gd name="connsiteY2" fmla="*/ 12275789 h 13779830"/>
              <a:gd name="connsiteX3" fmla="*/ 12163743 w 24534727"/>
              <a:gd name="connsiteY3" fmla="*/ 6859979 h 13779830"/>
              <a:gd name="connsiteX4" fmla="*/ 6747934 w 24534727"/>
              <a:gd name="connsiteY4" fmla="*/ 1444169 h 13779830"/>
              <a:gd name="connsiteX5" fmla="*/ 2314 w 24534727"/>
              <a:gd name="connsiteY5" fmla="*/ 91486 h 13779830"/>
              <a:gd name="connsiteX6" fmla="*/ 24530511 w 24534727"/>
              <a:gd name="connsiteY6" fmla="*/ 0 h 13779830"/>
              <a:gd name="connsiteX7" fmla="*/ 24534727 w 24534727"/>
              <a:gd name="connsiteY7" fmla="*/ 13775962 h 13779830"/>
              <a:gd name="connsiteX8" fmla="*/ 2961 w 24534727"/>
              <a:gd name="connsiteY8" fmla="*/ 13779830 h 13779830"/>
              <a:gd name="connsiteX9" fmla="*/ 2314 w 24534727"/>
              <a:gd name="connsiteY9" fmla="*/ 91486 h 13779830"/>
              <a:gd name="connsiteX0" fmla="*/ 6745001 w 24531794"/>
              <a:gd name="connsiteY0" fmla="*/ 1444169 h 13779830"/>
              <a:gd name="connsiteX1" fmla="*/ 1329191 w 24531794"/>
              <a:gd name="connsiteY1" fmla="*/ 6859979 h 13779830"/>
              <a:gd name="connsiteX2" fmla="*/ 6745001 w 24531794"/>
              <a:gd name="connsiteY2" fmla="*/ 12275789 h 13779830"/>
              <a:gd name="connsiteX3" fmla="*/ 12160810 w 24531794"/>
              <a:gd name="connsiteY3" fmla="*/ 6859979 h 13779830"/>
              <a:gd name="connsiteX4" fmla="*/ 6745001 w 24531794"/>
              <a:gd name="connsiteY4" fmla="*/ 1444169 h 13779830"/>
              <a:gd name="connsiteX5" fmla="*/ 2700322 w 24531794"/>
              <a:gd name="connsiteY5" fmla="*/ 91486 h 13779830"/>
              <a:gd name="connsiteX6" fmla="*/ 24527578 w 24531794"/>
              <a:gd name="connsiteY6" fmla="*/ 0 h 13779830"/>
              <a:gd name="connsiteX7" fmla="*/ 24531794 w 24531794"/>
              <a:gd name="connsiteY7" fmla="*/ 13775962 h 13779830"/>
              <a:gd name="connsiteX8" fmla="*/ 28 w 24531794"/>
              <a:gd name="connsiteY8" fmla="*/ 13779830 h 13779830"/>
              <a:gd name="connsiteX9" fmla="*/ 2700322 w 24531794"/>
              <a:gd name="connsiteY9" fmla="*/ 91486 h 13779830"/>
              <a:gd name="connsiteX0" fmla="*/ 6745079 w 24531872"/>
              <a:gd name="connsiteY0" fmla="*/ 1444169 h 13779830"/>
              <a:gd name="connsiteX1" fmla="*/ 1329269 w 24531872"/>
              <a:gd name="connsiteY1" fmla="*/ 6859979 h 13779830"/>
              <a:gd name="connsiteX2" fmla="*/ 6745079 w 24531872"/>
              <a:gd name="connsiteY2" fmla="*/ 12275789 h 13779830"/>
              <a:gd name="connsiteX3" fmla="*/ 12160888 w 24531872"/>
              <a:gd name="connsiteY3" fmla="*/ 6859979 h 13779830"/>
              <a:gd name="connsiteX4" fmla="*/ 6745079 w 24531872"/>
              <a:gd name="connsiteY4" fmla="*/ 1444169 h 13779830"/>
              <a:gd name="connsiteX5" fmla="*/ 676696 w 24531872"/>
              <a:gd name="connsiteY5" fmla="*/ 91486 h 13779830"/>
              <a:gd name="connsiteX6" fmla="*/ 24527656 w 24531872"/>
              <a:gd name="connsiteY6" fmla="*/ 0 h 13779830"/>
              <a:gd name="connsiteX7" fmla="*/ 24531872 w 24531872"/>
              <a:gd name="connsiteY7" fmla="*/ 13775962 h 13779830"/>
              <a:gd name="connsiteX8" fmla="*/ 106 w 24531872"/>
              <a:gd name="connsiteY8" fmla="*/ 13779830 h 13779830"/>
              <a:gd name="connsiteX9" fmla="*/ 676696 w 24531872"/>
              <a:gd name="connsiteY9" fmla="*/ 91486 h 13779830"/>
              <a:gd name="connsiteX0" fmla="*/ 6837064 w 24623857"/>
              <a:gd name="connsiteY0" fmla="*/ 1444169 h 13779830"/>
              <a:gd name="connsiteX1" fmla="*/ 1421254 w 24623857"/>
              <a:gd name="connsiteY1" fmla="*/ 6859979 h 13779830"/>
              <a:gd name="connsiteX2" fmla="*/ 6837064 w 24623857"/>
              <a:gd name="connsiteY2" fmla="*/ 12275789 h 13779830"/>
              <a:gd name="connsiteX3" fmla="*/ 12252873 w 24623857"/>
              <a:gd name="connsiteY3" fmla="*/ 6859979 h 13779830"/>
              <a:gd name="connsiteX4" fmla="*/ 6837064 w 24623857"/>
              <a:gd name="connsiteY4" fmla="*/ 1444169 h 13779830"/>
              <a:gd name="connsiteX5" fmla="*/ 0 w 24623857"/>
              <a:gd name="connsiteY5" fmla="*/ 91486 h 13779830"/>
              <a:gd name="connsiteX6" fmla="*/ 24619641 w 24623857"/>
              <a:gd name="connsiteY6" fmla="*/ 0 h 13779830"/>
              <a:gd name="connsiteX7" fmla="*/ 24623857 w 24623857"/>
              <a:gd name="connsiteY7" fmla="*/ 13775962 h 13779830"/>
              <a:gd name="connsiteX8" fmla="*/ 92091 w 24623857"/>
              <a:gd name="connsiteY8" fmla="*/ 13779830 h 13779830"/>
              <a:gd name="connsiteX9" fmla="*/ 0 w 24623857"/>
              <a:gd name="connsiteY9" fmla="*/ 91486 h 13779830"/>
              <a:gd name="connsiteX0" fmla="*/ 6837064 w 24623857"/>
              <a:gd name="connsiteY0" fmla="*/ 1444169 h 13779830"/>
              <a:gd name="connsiteX1" fmla="*/ 1421254 w 24623857"/>
              <a:gd name="connsiteY1" fmla="*/ 6859979 h 13779830"/>
              <a:gd name="connsiteX2" fmla="*/ 6837064 w 24623857"/>
              <a:gd name="connsiteY2" fmla="*/ 12275789 h 13779830"/>
              <a:gd name="connsiteX3" fmla="*/ 12252873 w 24623857"/>
              <a:gd name="connsiteY3" fmla="*/ 6859979 h 13779830"/>
              <a:gd name="connsiteX4" fmla="*/ 6837064 w 24623857"/>
              <a:gd name="connsiteY4" fmla="*/ 1444169 h 13779830"/>
              <a:gd name="connsiteX5" fmla="*/ 0 w 24623857"/>
              <a:gd name="connsiteY5" fmla="*/ 30494 h 13779830"/>
              <a:gd name="connsiteX6" fmla="*/ 24619641 w 24623857"/>
              <a:gd name="connsiteY6" fmla="*/ 0 h 13779830"/>
              <a:gd name="connsiteX7" fmla="*/ 24623857 w 24623857"/>
              <a:gd name="connsiteY7" fmla="*/ 13775962 h 13779830"/>
              <a:gd name="connsiteX8" fmla="*/ 92091 w 24623857"/>
              <a:gd name="connsiteY8" fmla="*/ 13779830 h 13779830"/>
              <a:gd name="connsiteX9" fmla="*/ 0 w 24623857"/>
              <a:gd name="connsiteY9" fmla="*/ 30494 h 13779830"/>
              <a:gd name="connsiteX0" fmla="*/ 6755298 w 24542091"/>
              <a:gd name="connsiteY0" fmla="*/ 1444169 h 13779830"/>
              <a:gd name="connsiteX1" fmla="*/ 1339488 w 24542091"/>
              <a:gd name="connsiteY1" fmla="*/ 6859979 h 13779830"/>
              <a:gd name="connsiteX2" fmla="*/ 6755298 w 24542091"/>
              <a:gd name="connsiteY2" fmla="*/ 12275789 h 13779830"/>
              <a:gd name="connsiteX3" fmla="*/ 12171107 w 24542091"/>
              <a:gd name="connsiteY3" fmla="*/ 6859979 h 13779830"/>
              <a:gd name="connsiteX4" fmla="*/ 6755298 w 24542091"/>
              <a:gd name="connsiteY4" fmla="*/ 1444169 h 13779830"/>
              <a:gd name="connsiteX5" fmla="*/ 0 w 24542091"/>
              <a:gd name="connsiteY5" fmla="*/ 50825 h 13779830"/>
              <a:gd name="connsiteX6" fmla="*/ 24537875 w 24542091"/>
              <a:gd name="connsiteY6" fmla="*/ 0 h 13779830"/>
              <a:gd name="connsiteX7" fmla="*/ 24542091 w 24542091"/>
              <a:gd name="connsiteY7" fmla="*/ 13775962 h 13779830"/>
              <a:gd name="connsiteX8" fmla="*/ 10325 w 24542091"/>
              <a:gd name="connsiteY8" fmla="*/ 13779830 h 13779830"/>
              <a:gd name="connsiteX9" fmla="*/ 0 w 24542091"/>
              <a:gd name="connsiteY9" fmla="*/ 50825 h 13779830"/>
              <a:gd name="connsiteX0" fmla="*/ 6746288 w 24533081"/>
              <a:gd name="connsiteY0" fmla="*/ 1444169 h 13779830"/>
              <a:gd name="connsiteX1" fmla="*/ 1330478 w 24533081"/>
              <a:gd name="connsiteY1" fmla="*/ 6859979 h 13779830"/>
              <a:gd name="connsiteX2" fmla="*/ 6746288 w 24533081"/>
              <a:gd name="connsiteY2" fmla="*/ 12275789 h 13779830"/>
              <a:gd name="connsiteX3" fmla="*/ 12162097 w 24533081"/>
              <a:gd name="connsiteY3" fmla="*/ 6859979 h 13779830"/>
              <a:gd name="connsiteX4" fmla="*/ 6746288 w 24533081"/>
              <a:gd name="connsiteY4" fmla="*/ 1444169 h 13779830"/>
              <a:gd name="connsiteX5" fmla="*/ 31873 w 24533081"/>
              <a:gd name="connsiteY5" fmla="*/ 50825 h 13779830"/>
              <a:gd name="connsiteX6" fmla="*/ 24528865 w 24533081"/>
              <a:gd name="connsiteY6" fmla="*/ 0 h 13779830"/>
              <a:gd name="connsiteX7" fmla="*/ 24533081 w 24533081"/>
              <a:gd name="connsiteY7" fmla="*/ 13775962 h 13779830"/>
              <a:gd name="connsiteX8" fmla="*/ 1315 w 24533081"/>
              <a:gd name="connsiteY8" fmla="*/ 13779830 h 13779830"/>
              <a:gd name="connsiteX9" fmla="*/ 31873 w 24533081"/>
              <a:gd name="connsiteY9" fmla="*/ 50825 h 13779830"/>
              <a:gd name="connsiteX0" fmla="*/ 6746288 w 24533081"/>
              <a:gd name="connsiteY0" fmla="*/ 1444169 h 13779830"/>
              <a:gd name="connsiteX1" fmla="*/ 1330478 w 24533081"/>
              <a:gd name="connsiteY1" fmla="*/ 6859979 h 13779830"/>
              <a:gd name="connsiteX2" fmla="*/ 6746288 w 24533081"/>
              <a:gd name="connsiteY2" fmla="*/ 12275789 h 13779830"/>
              <a:gd name="connsiteX3" fmla="*/ 12162097 w 24533081"/>
              <a:gd name="connsiteY3" fmla="*/ 6859979 h 13779830"/>
              <a:gd name="connsiteX4" fmla="*/ 6746288 w 24533081"/>
              <a:gd name="connsiteY4" fmla="*/ 1444169 h 13779830"/>
              <a:gd name="connsiteX5" fmla="*/ 31873 w 24533081"/>
              <a:gd name="connsiteY5" fmla="*/ 10163 h 13779830"/>
              <a:gd name="connsiteX6" fmla="*/ 24528865 w 24533081"/>
              <a:gd name="connsiteY6" fmla="*/ 0 h 13779830"/>
              <a:gd name="connsiteX7" fmla="*/ 24533081 w 24533081"/>
              <a:gd name="connsiteY7" fmla="*/ 13775962 h 13779830"/>
              <a:gd name="connsiteX8" fmla="*/ 1315 w 24533081"/>
              <a:gd name="connsiteY8" fmla="*/ 13779830 h 13779830"/>
              <a:gd name="connsiteX9" fmla="*/ 31873 w 24533081"/>
              <a:gd name="connsiteY9" fmla="*/ 10163 h 13779830"/>
              <a:gd name="connsiteX0" fmla="*/ 6746288 w 24533081"/>
              <a:gd name="connsiteY0" fmla="*/ 1494998 h 13830659"/>
              <a:gd name="connsiteX1" fmla="*/ 1330478 w 24533081"/>
              <a:gd name="connsiteY1" fmla="*/ 6910808 h 13830659"/>
              <a:gd name="connsiteX2" fmla="*/ 6746288 w 24533081"/>
              <a:gd name="connsiteY2" fmla="*/ 12326618 h 13830659"/>
              <a:gd name="connsiteX3" fmla="*/ 12162097 w 24533081"/>
              <a:gd name="connsiteY3" fmla="*/ 6910808 h 13830659"/>
              <a:gd name="connsiteX4" fmla="*/ 6746288 w 24533081"/>
              <a:gd name="connsiteY4" fmla="*/ 1494998 h 13830659"/>
              <a:gd name="connsiteX5" fmla="*/ 31873 w 24533081"/>
              <a:gd name="connsiteY5" fmla="*/ 0 h 13830659"/>
              <a:gd name="connsiteX6" fmla="*/ 24528865 w 24533081"/>
              <a:gd name="connsiteY6" fmla="*/ 50829 h 13830659"/>
              <a:gd name="connsiteX7" fmla="*/ 24533081 w 24533081"/>
              <a:gd name="connsiteY7" fmla="*/ 13826791 h 13830659"/>
              <a:gd name="connsiteX8" fmla="*/ 1315 w 24533081"/>
              <a:gd name="connsiteY8" fmla="*/ 13830659 h 13830659"/>
              <a:gd name="connsiteX9" fmla="*/ 31873 w 24533081"/>
              <a:gd name="connsiteY9" fmla="*/ 0 h 13830659"/>
              <a:gd name="connsiteX0" fmla="*/ 6746288 w 24533081"/>
              <a:gd name="connsiteY0" fmla="*/ 1444169 h 13779830"/>
              <a:gd name="connsiteX1" fmla="*/ 1330478 w 24533081"/>
              <a:gd name="connsiteY1" fmla="*/ 6859979 h 13779830"/>
              <a:gd name="connsiteX2" fmla="*/ 6746288 w 24533081"/>
              <a:gd name="connsiteY2" fmla="*/ 12275789 h 13779830"/>
              <a:gd name="connsiteX3" fmla="*/ 12162097 w 24533081"/>
              <a:gd name="connsiteY3" fmla="*/ 6859979 h 13779830"/>
              <a:gd name="connsiteX4" fmla="*/ 6746288 w 24533081"/>
              <a:gd name="connsiteY4" fmla="*/ 1444169 h 13779830"/>
              <a:gd name="connsiteX5" fmla="*/ 31873 w 24533081"/>
              <a:gd name="connsiteY5" fmla="*/ 10163 h 13779830"/>
              <a:gd name="connsiteX6" fmla="*/ 24528865 w 24533081"/>
              <a:gd name="connsiteY6" fmla="*/ 0 h 13779830"/>
              <a:gd name="connsiteX7" fmla="*/ 24533081 w 24533081"/>
              <a:gd name="connsiteY7" fmla="*/ 13775962 h 13779830"/>
              <a:gd name="connsiteX8" fmla="*/ 1315 w 24533081"/>
              <a:gd name="connsiteY8" fmla="*/ 13779830 h 13779830"/>
              <a:gd name="connsiteX9" fmla="*/ 31873 w 24533081"/>
              <a:gd name="connsiteY9" fmla="*/ 10163 h 13779830"/>
              <a:gd name="connsiteX0" fmla="*/ 6775739 w 24562532"/>
              <a:gd name="connsiteY0" fmla="*/ 1444169 h 13779830"/>
              <a:gd name="connsiteX1" fmla="*/ 1359929 w 24562532"/>
              <a:gd name="connsiteY1" fmla="*/ 6859979 h 13779830"/>
              <a:gd name="connsiteX2" fmla="*/ 6775739 w 24562532"/>
              <a:gd name="connsiteY2" fmla="*/ 12275789 h 13779830"/>
              <a:gd name="connsiteX3" fmla="*/ 12191548 w 24562532"/>
              <a:gd name="connsiteY3" fmla="*/ 6859979 h 13779830"/>
              <a:gd name="connsiteX4" fmla="*/ 6775739 w 24562532"/>
              <a:gd name="connsiteY4" fmla="*/ 1444169 h 13779830"/>
              <a:gd name="connsiteX5" fmla="*/ 0 w 24562532"/>
              <a:gd name="connsiteY5" fmla="*/ 50825 h 13779830"/>
              <a:gd name="connsiteX6" fmla="*/ 24558316 w 24562532"/>
              <a:gd name="connsiteY6" fmla="*/ 0 h 13779830"/>
              <a:gd name="connsiteX7" fmla="*/ 24562532 w 24562532"/>
              <a:gd name="connsiteY7" fmla="*/ 13775962 h 13779830"/>
              <a:gd name="connsiteX8" fmla="*/ 30766 w 24562532"/>
              <a:gd name="connsiteY8" fmla="*/ 13779830 h 13779830"/>
              <a:gd name="connsiteX9" fmla="*/ 0 w 24562532"/>
              <a:gd name="connsiteY9" fmla="*/ 50825 h 1377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562532" h="13779830">
                <a:moveTo>
                  <a:pt x="6775739" y="1444169"/>
                </a:moveTo>
                <a:cubicBezTo>
                  <a:pt x="3784669" y="1444169"/>
                  <a:pt x="1359929" y="3868911"/>
                  <a:pt x="1359929" y="6859979"/>
                </a:cubicBezTo>
                <a:cubicBezTo>
                  <a:pt x="1359929" y="9851048"/>
                  <a:pt x="3784669" y="12275789"/>
                  <a:pt x="6775739" y="12275789"/>
                </a:cubicBezTo>
                <a:cubicBezTo>
                  <a:pt x="9766808" y="12275789"/>
                  <a:pt x="12191548" y="9851048"/>
                  <a:pt x="12191548" y="6859979"/>
                </a:cubicBezTo>
                <a:cubicBezTo>
                  <a:pt x="12191548" y="3868911"/>
                  <a:pt x="9766808" y="1444169"/>
                  <a:pt x="6775739" y="1444169"/>
                </a:cubicBezTo>
                <a:close/>
                <a:moveTo>
                  <a:pt x="0" y="50825"/>
                </a:moveTo>
                <a:lnTo>
                  <a:pt x="24558316" y="0"/>
                </a:lnTo>
                <a:cubicBezTo>
                  <a:pt x="24568309" y="4581994"/>
                  <a:pt x="24552539" y="9193968"/>
                  <a:pt x="24562532" y="13775962"/>
                </a:cubicBezTo>
                <a:lnTo>
                  <a:pt x="30766" y="13779830"/>
                </a:lnTo>
                <a:cubicBezTo>
                  <a:pt x="20773" y="9267791"/>
                  <a:pt x="9993" y="4562864"/>
                  <a:pt x="0" y="50825"/>
                </a:cubicBezTo>
                <a:close/>
              </a:path>
            </a:pathLst>
          </a:custGeom>
          <a:gradFill>
            <a:gsLst>
              <a:gs pos="0">
                <a:srgbClr val="50ABA0">
                  <a:alpha val="85882"/>
                </a:srgbClr>
              </a:gs>
              <a:gs pos="100000">
                <a:schemeClr val="tx2"/>
              </a:gs>
            </a:gsLst>
            <a:lin ang="13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9" name="Oval 8">
            <a:extLst>
              <a:ext uri="{FF2B5EF4-FFF2-40B4-BE49-F238E27FC236}">
                <a16:creationId xmlns:a16="http://schemas.microsoft.com/office/drawing/2014/main" id="{C93B4756-49A3-6B4C-87C7-7A49AAF41DDA}"/>
              </a:ext>
            </a:extLst>
          </p:cNvPr>
          <p:cNvSpPr/>
          <p:nvPr userDrawn="1"/>
        </p:nvSpPr>
        <p:spPr>
          <a:xfrm>
            <a:off x="386354" y="469746"/>
            <a:ext cx="5895774" cy="5895774"/>
          </a:xfrm>
          <a:prstGeom prst="ellipse">
            <a:avLst/>
          </a:prstGeom>
          <a:noFill/>
          <a:ln>
            <a:solidFill>
              <a:srgbClr val="9ACFC8">
                <a:alpha val="31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0" name="Oval 9">
            <a:extLst>
              <a:ext uri="{FF2B5EF4-FFF2-40B4-BE49-F238E27FC236}">
                <a16:creationId xmlns:a16="http://schemas.microsoft.com/office/drawing/2014/main" id="{C6DCF5E5-FCB2-4143-AF7D-178EEBB8D42E}"/>
              </a:ext>
            </a:extLst>
          </p:cNvPr>
          <p:cNvSpPr/>
          <p:nvPr userDrawn="1"/>
        </p:nvSpPr>
        <p:spPr>
          <a:xfrm>
            <a:off x="201944" y="276454"/>
            <a:ext cx="6305091" cy="6305091"/>
          </a:xfrm>
          <a:prstGeom prst="ellipse">
            <a:avLst/>
          </a:prstGeom>
          <a:noFill/>
          <a:ln>
            <a:solidFill>
              <a:schemeClr val="tx2">
                <a:lumMod val="20000"/>
                <a:lumOff val="80000"/>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2" name="Title 1">
            <a:extLst>
              <a:ext uri="{FF2B5EF4-FFF2-40B4-BE49-F238E27FC236}">
                <a16:creationId xmlns:a16="http://schemas.microsoft.com/office/drawing/2014/main" id="{F6FCFD60-BD6A-2244-8823-7C72526A28A2}"/>
              </a:ext>
            </a:extLst>
          </p:cNvPr>
          <p:cNvSpPr>
            <a:spLocks noGrp="1"/>
          </p:cNvSpPr>
          <p:nvPr>
            <p:ph type="ctrTitle" hasCustomPrompt="1"/>
          </p:nvPr>
        </p:nvSpPr>
        <p:spPr>
          <a:xfrm>
            <a:off x="7180297" y="2493968"/>
            <a:ext cx="4167057" cy="724999"/>
          </a:xfrm>
        </p:spPr>
        <p:txBody>
          <a:bodyPr>
            <a:normAutofit/>
          </a:bodyPr>
          <a:lstStyle>
            <a:lvl1pPr algn="l">
              <a:defRPr sz="4800" b="1">
                <a:solidFill>
                  <a:schemeClr val="bg1"/>
                </a:solidFill>
                <a:latin typeface="+mn-lt"/>
              </a:defRPr>
            </a:lvl1pPr>
          </a:lstStyle>
          <a:p>
            <a:r>
              <a:rPr lang="en-US" dirty="0"/>
              <a:t>Transition</a:t>
            </a:r>
          </a:p>
        </p:txBody>
      </p:sp>
      <p:sp>
        <p:nvSpPr>
          <p:cNvPr id="13" name="Subtitle 2" hidden="1">
            <a:extLst>
              <a:ext uri="{FF2B5EF4-FFF2-40B4-BE49-F238E27FC236}">
                <a16:creationId xmlns:a16="http://schemas.microsoft.com/office/drawing/2014/main" id="{674C907D-C559-1442-BB91-D939050B5C2E}"/>
              </a:ext>
            </a:extLst>
          </p:cNvPr>
          <p:cNvSpPr>
            <a:spLocks noGrp="1"/>
          </p:cNvSpPr>
          <p:nvPr>
            <p:ph type="subTitle" idx="1" hasCustomPrompt="1"/>
          </p:nvPr>
        </p:nvSpPr>
        <p:spPr>
          <a:xfrm>
            <a:off x="7180477" y="3233111"/>
            <a:ext cx="4167057" cy="514320"/>
          </a:xfrm>
          <a:prstGeom prst="rect">
            <a:avLst/>
          </a:prstGeom>
        </p:spPr>
        <p:txBody>
          <a:bodyPr>
            <a:noAutofit/>
          </a:bodyPr>
          <a:lstStyle>
            <a:lvl1pPr marL="0" indent="0" algn="l">
              <a:buNone/>
              <a:defRPr sz="2800"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ubtitle</a:t>
            </a:r>
          </a:p>
        </p:txBody>
      </p:sp>
      <p:sp>
        <p:nvSpPr>
          <p:cNvPr id="14" name="Text Placeholder 27">
            <a:extLst>
              <a:ext uri="{FF2B5EF4-FFF2-40B4-BE49-F238E27FC236}">
                <a16:creationId xmlns:a16="http://schemas.microsoft.com/office/drawing/2014/main" id="{55D73E68-6CC9-9C48-8571-B060186A41C8}"/>
              </a:ext>
            </a:extLst>
          </p:cNvPr>
          <p:cNvSpPr>
            <a:spLocks noGrp="1"/>
          </p:cNvSpPr>
          <p:nvPr>
            <p:ph type="body" sz="quarter" idx="11" hasCustomPrompt="1"/>
          </p:nvPr>
        </p:nvSpPr>
        <p:spPr>
          <a:xfrm>
            <a:off x="7180289" y="3747541"/>
            <a:ext cx="4167265" cy="1903751"/>
          </a:xfrm>
          <a:prstGeom prst="rect">
            <a:avLst/>
          </a:prstGeom>
        </p:spPr>
        <p:txBody>
          <a:bodyPr>
            <a:noAutofit/>
          </a:bodyPr>
          <a:lstStyle>
            <a:lvl1pPr marL="0" indent="0">
              <a:lnSpc>
                <a:spcPct val="100000"/>
              </a:lnSpc>
              <a:spcBef>
                <a:spcPts val="0"/>
              </a:spcBef>
              <a:buNone/>
              <a:defRPr sz="1800">
                <a:solidFill>
                  <a:schemeClr val="bg1"/>
                </a:solidFill>
              </a:defRPr>
            </a:lvl1pPr>
          </a:lstStyle>
          <a:p>
            <a:pPr lvl="0"/>
            <a:r>
              <a:rPr lang="en-US" dirty="0"/>
              <a:t>Text</a:t>
            </a:r>
          </a:p>
          <a:p>
            <a:pPr lvl="0"/>
            <a:r>
              <a:rPr lang="en-US" dirty="0"/>
              <a:t>Line 2</a:t>
            </a:r>
          </a:p>
          <a:p>
            <a:pPr lvl="0"/>
            <a:r>
              <a:rPr lang="en-US" dirty="0"/>
              <a:t>Line 3</a:t>
            </a:r>
          </a:p>
          <a:p>
            <a:pPr lvl="0"/>
            <a:r>
              <a:rPr lang="en-US" dirty="0"/>
              <a:t>Line 4</a:t>
            </a:r>
          </a:p>
          <a:p>
            <a:pPr lvl="0"/>
            <a:r>
              <a:rPr lang="en-US" dirty="0"/>
              <a:t>Line 5</a:t>
            </a:r>
          </a:p>
        </p:txBody>
      </p:sp>
    </p:spTree>
    <p:extLst>
      <p:ext uri="{BB962C8B-B14F-4D97-AF65-F5344CB8AC3E}">
        <p14:creationId xmlns:p14="http://schemas.microsoft.com/office/powerpoint/2010/main" val="33868274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_only">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AD63D1A-A5C5-4905-A740-E43DB3F9AE46}"/>
              </a:ext>
            </a:extLst>
          </p:cNvPr>
          <p:cNvSpPr>
            <a:spLocks noGrp="1"/>
          </p:cNvSpPr>
          <p:nvPr>
            <p:ph type="sldNum" sz="quarter" idx="69"/>
          </p:nvPr>
        </p:nvSpPr>
        <p:spPr>
          <a:xfrm>
            <a:off x="11345601" y="6412376"/>
            <a:ext cx="473598" cy="185724"/>
          </a:xfrm>
          <a:prstGeom prst="rect">
            <a:avLst/>
          </a:prstGeom>
        </p:spPr>
        <p:txBody>
          <a:bodyPr/>
          <a:lstStyle>
            <a:lvl1pPr>
              <a:defRPr>
                <a:solidFill>
                  <a:schemeClr val="tx1">
                    <a:lumMod val="60000"/>
                    <a:lumOff val="40000"/>
                  </a:schemeClr>
                </a:solidFill>
              </a:defRPr>
            </a:lvl1pPr>
          </a:lstStyle>
          <a:p>
            <a:fld id="{32413461-4BB7-634E-A64C-F44C59018A3C}" type="slidenum">
              <a:rPr lang="en-US" smtClean="0"/>
              <a:pPr/>
              <a:t>‹#›</a:t>
            </a:fld>
            <a:endParaRPr lang="en-US" dirty="0"/>
          </a:p>
        </p:txBody>
      </p:sp>
    </p:spTree>
    <p:extLst>
      <p:ext uri="{BB962C8B-B14F-4D97-AF65-F5344CB8AC3E}">
        <p14:creationId xmlns:p14="http://schemas.microsoft.com/office/powerpoint/2010/main" val="841098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Option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11432" y="2558006"/>
            <a:ext cx="5197976" cy="1345070"/>
          </a:xfrm>
        </p:spPr>
        <p:txBody>
          <a:bodyPr>
            <a:normAutofit/>
          </a:bodyPr>
          <a:lstStyle>
            <a:lvl1pPr algn="l">
              <a:defRPr sz="4800">
                <a:solidFill>
                  <a:schemeClr val="tx1"/>
                </a:solidFill>
              </a:defRPr>
            </a:lvl1pPr>
          </a:lstStyle>
          <a:p>
            <a:r>
              <a:rPr lang="en-US" dirty="0"/>
              <a:t>Presentation Title</a:t>
            </a:r>
          </a:p>
        </p:txBody>
      </p:sp>
      <p:sp>
        <p:nvSpPr>
          <p:cNvPr id="3" name="Subtitle 2"/>
          <p:cNvSpPr>
            <a:spLocks noGrp="1"/>
          </p:cNvSpPr>
          <p:nvPr>
            <p:ph type="subTitle" idx="1" hasCustomPrompt="1"/>
          </p:nvPr>
        </p:nvSpPr>
        <p:spPr>
          <a:xfrm>
            <a:off x="6411433" y="3679279"/>
            <a:ext cx="5197975" cy="1121274"/>
          </a:xfrm>
        </p:spPr>
        <p:txBody>
          <a:bodyPr>
            <a:normAutofit/>
          </a:bodyPr>
          <a:lstStyle>
            <a:lvl1pPr marL="0" indent="0" algn="l">
              <a:lnSpc>
                <a:spcPct val="100000"/>
              </a:lnSpc>
              <a:buNone/>
              <a:defRPr sz="2800">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ub head</a:t>
            </a:r>
            <a:br>
              <a:rPr lang="en-US" dirty="0"/>
            </a:br>
            <a:r>
              <a:rPr lang="en-US" dirty="0"/>
              <a:t>Line 2 </a:t>
            </a:r>
          </a:p>
        </p:txBody>
      </p:sp>
      <p:sp>
        <p:nvSpPr>
          <p:cNvPr id="5" name="TextBox 4">
            <a:extLst>
              <a:ext uri="{FF2B5EF4-FFF2-40B4-BE49-F238E27FC236}">
                <a16:creationId xmlns:a16="http://schemas.microsoft.com/office/drawing/2014/main" id="{91B5EC7A-E198-9B40-B23F-3EC2A3223964}"/>
              </a:ext>
            </a:extLst>
          </p:cNvPr>
          <p:cNvSpPr txBox="1"/>
          <p:nvPr userDrawn="1"/>
        </p:nvSpPr>
        <p:spPr>
          <a:xfrm>
            <a:off x="6411433" y="5994746"/>
            <a:ext cx="5473345" cy="646331"/>
          </a:xfrm>
          <a:prstGeom prst="rect">
            <a:avLst/>
          </a:prstGeom>
          <a:noFill/>
        </p:spPr>
        <p:txBody>
          <a:bodyPr wrap="square" rtlCol="0">
            <a:spAutoFit/>
          </a:bodyPr>
          <a:lstStyle/>
          <a:p>
            <a:r>
              <a:rPr lang="en-US" sz="900" kern="1200" dirty="0">
                <a:solidFill>
                  <a:schemeClr val="tx1">
                    <a:lumMod val="60000"/>
                    <a:lumOff val="40000"/>
                  </a:schemeClr>
                </a:solidFill>
                <a:effectLst/>
                <a:latin typeface="+mn-lt"/>
                <a:ea typeface="+mn-ea"/>
                <a:cs typeface="+mn-cs"/>
              </a:rPr>
              <a:t>Source: 2021 STR, LLC / STR Global, Ltd. trading as "STR". © CoStar Realty Information, Inc.  Any reprint, use or republication of all or a part of this presentation without the prior written approval of STR is strictly prohibited.  </a:t>
            </a:r>
            <a:br>
              <a:rPr lang="en-US" sz="900" kern="1200" dirty="0">
                <a:solidFill>
                  <a:schemeClr val="tx1">
                    <a:lumMod val="60000"/>
                    <a:lumOff val="40000"/>
                  </a:schemeClr>
                </a:solidFill>
                <a:effectLst/>
                <a:latin typeface="+mn-lt"/>
                <a:ea typeface="+mn-ea"/>
                <a:cs typeface="+mn-cs"/>
              </a:rPr>
            </a:br>
            <a:r>
              <a:rPr lang="en-US" sz="900" kern="1200" dirty="0">
                <a:solidFill>
                  <a:schemeClr val="tx1">
                    <a:lumMod val="60000"/>
                    <a:lumOff val="40000"/>
                  </a:schemeClr>
                </a:solidFill>
                <a:effectLst/>
                <a:latin typeface="+mn-lt"/>
                <a:ea typeface="+mn-ea"/>
                <a:cs typeface="+mn-cs"/>
              </a:rPr>
              <a:t>Any such reproduction shall specifically credit STR as the source.  This presentation is based on data collected by STR.  The information in the presentation should not be construed as investment, tax, accounting or legal advice.</a:t>
            </a:r>
          </a:p>
        </p:txBody>
      </p:sp>
      <p:sp>
        <p:nvSpPr>
          <p:cNvPr id="6" name="Picture Placeholder 10">
            <a:extLst>
              <a:ext uri="{FF2B5EF4-FFF2-40B4-BE49-F238E27FC236}">
                <a16:creationId xmlns:a16="http://schemas.microsoft.com/office/drawing/2014/main" id="{37518446-2C66-DB44-A09C-06E3EAD330A6}"/>
              </a:ext>
            </a:extLst>
          </p:cNvPr>
          <p:cNvSpPr>
            <a:spLocks noGrp="1"/>
          </p:cNvSpPr>
          <p:nvPr>
            <p:ph type="pic" sz="quarter" idx="10"/>
          </p:nvPr>
        </p:nvSpPr>
        <p:spPr>
          <a:xfrm>
            <a:off x="0" y="0"/>
            <a:ext cx="6425046" cy="6858000"/>
          </a:xfrm>
          <a:custGeom>
            <a:avLst/>
            <a:gdLst>
              <a:gd name="connsiteX0" fmla="*/ 2609873 w 8343900"/>
              <a:gd name="connsiteY0" fmla="*/ 0 h 6858000"/>
              <a:gd name="connsiteX1" fmla="*/ 8343900 w 8343900"/>
              <a:gd name="connsiteY1" fmla="*/ 0 h 6858000"/>
              <a:gd name="connsiteX2" fmla="*/ 5143477 w 8343900"/>
              <a:gd name="connsiteY2" fmla="*/ 6858000 h 6858000"/>
              <a:gd name="connsiteX3" fmla="*/ 0 w 8343900"/>
              <a:gd name="connsiteY3" fmla="*/ 6858000 h 6858000"/>
              <a:gd name="connsiteX4" fmla="*/ 0 w 8343900"/>
              <a:gd name="connsiteY4" fmla="*/ 5592545 h 6858000"/>
              <a:gd name="connsiteX5" fmla="*/ 0 w 8343900"/>
              <a:gd name="connsiteY5" fmla="*/ 0 h 6858000"/>
              <a:gd name="connsiteX6" fmla="*/ 2076450 w 8343900"/>
              <a:gd name="connsiteY6" fmla="*/ 0 h 6858000"/>
              <a:gd name="connsiteX7" fmla="*/ 0 w 8343900"/>
              <a:gd name="connsiteY7" fmla="*/ 444950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43900" h="6858000">
                <a:moveTo>
                  <a:pt x="2609873" y="0"/>
                </a:moveTo>
                <a:lnTo>
                  <a:pt x="8343900" y="0"/>
                </a:lnTo>
                <a:lnTo>
                  <a:pt x="5143477" y="6858000"/>
                </a:lnTo>
                <a:lnTo>
                  <a:pt x="0" y="6858000"/>
                </a:lnTo>
                <a:lnTo>
                  <a:pt x="0" y="5592545"/>
                </a:lnTo>
                <a:close/>
                <a:moveTo>
                  <a:pt x="0" y="0"/>
                </a:moveTo>
                <a:lnTo>
                  <a:pt x="2076450" y="0"/>
                </a:lnTo>
                <a:lnTo>
                  <a:pt x="0" y="4449504"/>
                </a:lnTo>
                <a:close/>
              </a:path>
            </a:pathLst>
          </a:custGeom>
          <a:solidFill>
            <a:schemeClr val="bg1">
              <a:lumMod val="95000"/>
            </a:schemeClr>
          </a:solidFill>
        </p:spPr>
        <p:txBody>
          <a:bodyPr wrap="square">
            <a:noAutofit/>
          </a:bodyPr>
          <a:lstStyle>
            <a:lvl1pPr marL="0" indent="0">
              <a:buNone/>
              <a:defRPr sz="16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icon to add picture</a:t>
            </a:r>
            <a:endParaRPr lang="en-GB" dirty="0"/>
          </a:p>
        </p:txBody>
      </p:sp>
      <p:sp>
        <p:nvSpPr>
          <p:cNvPr id="13" name="Text Placeholder 12">
            <a:extLst>
              <a:ext uri="{FF2B5EF4-FFF2-40B4-BE49-F238E27FC236}">
                <a16:creationId xmlns:a16="http://schemas.microsoft.com/office/drawing/2014/main" id="{8D178927-5F27-1341-A788-4895FB7F64C6}"/>
              </a:ext>
            </a:extLst>
          </p:cNvPr>
          <p:cNvSpPr>
            <a:spLocks noGrp="1"/>
          </p:cNvSpPr>
          <p:nvPr>
            <p:ph type="body" sz="quarter" idx="12" hasCustomPrompt="1"/>
          </p:nvPr>
        </p:nvSpPr>
        <p:spPr>
          <a:xfrm>
            <a:off x="6425047" y="5241272"/>
            <a:ext cx="5184362" cy="371475"/>
          </a:xfrm>
        </p:spPr>
        <p:txBody>
          <a:bodyPr>
            <a:noAutofit/>
          </a:bodyPr>
          <a:lstStyle>
            <a:lvl1pPr marL="0" indent="0">
              <a:buNone/>
              <a:defRPr sz="2000" b="1">
                <a:solidFill>
                  <a:schemeClr val="tx1"/>
                </a:solidFill>
              </a:defRPr>
            </a:lvl1pPr>
          </a:lstStyle>
          <a:p>
            <a:pPr lvl="0"/>
            <a:r>
              <a:rPr lang="en-US" dirty="0"/>
              <a:t>Name  </a:t>
            </a:r>
            <a:r>
              <a:rPr lang="en-US" b="0" dirty="0"/>
              <a:t>|  Title</a:t>
            </a:r>
            <a:endParaRPr lang="en-US" dirty="0"/>
          </a:p>
        </p:txBody>
      </p:sp>
      <p:pic>
        <p:nvPicPr>
          <p:cNvPr id="16" name="Picture 15">
            <a:extLst>
              <a:ext uri="{FF2B5EF4-FFF2-40B4-BE49-F238E27FC236}">
                <a16:creationId xmlns:a16="http://schemas.microsoft.com/office/drawing/2014/main" id="{1596602E-F646-FA44-ABF3-93E344902C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96546" y="299377"/>
            <a:ext cx="1288232" cy="1288232"/>
          </a:xfrm>
          <a:prstGeom prst="rect">
            <a:avLst/>
          </a:prstGeom>
        </p:spPr>
      </p:pic>
    </p:spTree>
    <p:extLst>
      <p:ext uri="{BB962C8B-B14F-4D97-AF65-F5344CB8AC3E}">
        <p14:creationId xmlns:p14="http://schemas.microsoft.com/office/powerpoint/2010/main" val="3531324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Option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11432" y="2558006"/>
            <a:ext cx="5197976" cy="1345070"/>
          </a:xfrm>
        </p:spPr>
        <p:txBody>
          <a:bodyPr>
            <a:normAutofit/>
          </a:bodyPr>
          <a:lstStyle>
            <a:lvl1pPr algn="l">
              <a:defRPr sz="4800">
                <a:solidFill>
                  <a:schemeClr val="tx1"/>
                </a:solidFill>
              </a:defRPr>
            </a:lvl1pPr>
          </a:lstStyle>
          <a:p>
            <a:r>
              <a:rPr lang="en-US" dirty="0"/>
              <a:t>Presentation Title</a:t>
            </a:r>
          </a:p>
        </p:txBody>
      </p:sp>
      <p:sp>
        <p:nvSpPr>
          <p:cNvPr id="3" name="Subtitle 2"/>
          <p:cNvSpPr>
            <a:spLocks noGrp="1"/>
          </p:cNvSpPr>
          <p:nvPr>
            <p:ph type="subTitle" idx="1" hasCustomPrompt="1"/>
          </p:nvPr>
        </p:nvSpPr>
        <p:spPr>
          <a:xfrm>
            <a:off x="6411433" y="3679279"/>
            <a:ext cx="5197975" cy="1121274"/>
          </a:xfrm>
        </p:spPr>
        <p:txBody>
          <a:bodyPr>
            <a:normAutofit/>
          </a:bodyPr>
          <a:lstStyle>
            <a:lvl1pPr marL="0" indent="0" algn="l">
              <a:lnSpc>
                <a:spcPct val="100000"/>
              </a:lnSpc>
              <a:buNone/>
              <a:defRPr sz="2800">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ub head</a:t>
            </a:r>
            <a:br>
              <a:rPr lang="en-US" dirty="0"/>
            </a:br>
            <a:r>
              <a:rPr lang="en-US" dirty="0"/>
              <a:t>Line 2 </a:t>
            </a:r>
          </a:p>
        </p:txBody>
      </p:sp>
      <p:sp>
        <p:nvSpPr>
          <p:cNvPr id="5" name="TextBox 4">
            <a:extLst>
              <a:ext uri="{FF2B5EF4-FFF2-40B4-BE49-F238E27FC236}">
                <a16:creationId xmlns:a16="http://schemas.microsoft.com/office/drawing/2014/main" id="{91B5EC7A-E198-9B40-B23F-3EC2A3223964}"/>
              </a:ext>
            </a:extLst>
          </p:cNvPr>
          <p:cNvSpPr txBox="1"/>
          <p:nvPr userDrawn="1"/>
        </p:nvSpPr>
        <p:spPr>
          <a:xfrm>
            <a:off x="6411433" y="5994746"/>
            <a:ext cx="5473345" cy="646331"/>
          </a:xfrm>
          <a:prstGeom prst="rect">
            <a:avLst/>
          </a:prstGeom>
          <a:noFill/>
        </p:spPr>
        <p:txBody>
          <a:bodyPr wrap="square" rtlCol="0">
            <a:spAutoFit/>
          </a:bodyPr>
          <a:lstStyle/>
          <a:p>
            <a:r>
              <a:rPr lang="en-US" sz="900" kern="1200" dirty="0">
                <a:solidFill>
                  <a:schemeClr val="tx1">
                    <a:lumMod val="60000"/>
                    <a:lumOff val="40000"/>
                  </a:schemeClr>
                </a:solidFill>
                <a:effectLst/>
                <a:latin typeface="+mn-lt"/>
                <a:ea typeface="+mn-ea"/>
                <a:cs typeface="+mn-cs"/>
              </a:rPr>
              <a:t>Source: 2021 STR, LLC / STR Global, Ltd. trading as "STR". © CoStar Realty Information, Inc.  Any reprint, use or republication of all or a part of this presentation without the prior written approval of STR is strictly prohibited.  </a:t>
            </a:r>
            <a:br>
              <a:rPr lang="en-US" sz="900" kern="1200" dirty="0">
                <a:solidFill>
                  <a:schemeClr val="tx1">
                    <a:lumMod val="60000"/>
                    <a:lumOff val="40000"/>
                  </a:schemeClr>
                </a:solidFill>
                <a:effectLst/>
                <a:latin typeface="+mn-lt"/>
                <a:ea typeface="+mn-ea"/>
                <a:cs typeface="+mn-cs"/>
              </a:rPr>
            </a:br>
            <a:r>
              <a:rPr lang="en-US" sz="900" kern="1200" dirty="0">
                <a:solidFill>
                  <a:schemeClr val="tx1">
                    <a:lumMod val="60000"/>
                    <a:lumOff val="40000"/>
                  </a:schemeClr>
                </a:solidFill>
                <a:effectLst/>
                <a:latin typeface="+mn-lt"/>
                <a:ea typeface="+mn-ea"/>
                <a:cs typeface="+mn-cs"/>
              </a:rPr>
              <a:t>Any such reproduction shall specifically credit STR as the source.  This presentation is based on data collected by STR.  The information in the presentation should not be construed as investment, tax, accounting or legal advice.</a:t>
            </a:r>
          </a:p>
        </p:txBody>
      </p:sp>
      <p:sp>
        <p:nvSpPr>
          <p:cNvPr id="6" name="Picture Placeholder 10">
            <a:extLst>
              <a:ext uri="{FF2B5EF4-FFF2-40B4-BE49-F238E27FC236}">
                <a16:creationId xmlns:a16="http://schemas.microsoft.com/office/drawing/2014/main" id="{37518446-2C66-DB44-A09C-06E3EAD330A6}"/>
              </a:ext>
            </a:extLst>
          </p:cNvPr>
          <p:cNvSpPr>
            <a:spLocks noGrp="1"/>
          </p:cNvSpPr>
          <p:nvPr>
            <p:ph type="pic" sz="quarter" idx="10"/>
          </p:nvPr>
        </p:nvSpPr>
        <p:spPr>
          <a:xfrm>
            <a:off x="0" y="0"/>
            <a:ext cx="6425046" cy="6858000"/>
          </a:xfrm>
          <a:custGeom>
            <a:avLst/>
            <a:gdLst>
              <a:gd name="connsiteX0" fmla="*/ 2609873 w 8343900"/>
              <a:gd name="connsiteY0" fmla="*/ 0 h 6858000"/>
              <a:gd name="connsiteX1" fmla="*/ 8343900 w 8343900"/>
              <a:gd name="connsiteY1" fmla="*/ 0 h 6858000"/>
              <a:gd name="connsiteX2" fmla="*/ 5143477 w 8343900"/>
              <a:gd name="connsiteY2" fmla="*/ 6858000 h 6858000"/>
              <a:gd name="connsiteX3" fmla="*/ 0 w 8343900"/>
              <a:gd name="connsiteY3" fmla="*/ 6858000 h 6858000"/>
              <a:gd name="connsiteX4" fmla="*/ 0 w 8343900"/>
              <a:gd name="connsiteY4" fmla="*/ 5592545 h 6858000"/>
              <a:gd name="connsiteX5" fmla="*/ 0 w 8343900"/>
              <a:gd name="connsiteY5" fmla="*/ 0 h 6858000"/>
              <a:gd name="connsiteX6" fmla="*/ 2076450 w 8343900"/>
              <a:gd name="connsiteY6" fmla="*/ 0 h 6858000"/>
              <a:gd name="connsiteX7" fmla="*/ 0 w 8343900"/>
              <a:gd name="connsiteY7" fmla="*/ 444950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43900" h="6858000">
                <a:moveTo>
                  <a:pt x="2609873" y="0"/>
                </a:moveTo>
                <a:lnTo>
                  <a:pt x="8343900" y="0"/>
                </a:lnTo>
                <a:lnTo>
                  <a:pt x="5143477" y="6858000"/>
                </a:lnTo>
                <a:lnTo>
                  <a:pt x="0" y="6858000"/>
                </a:lnTo>
                <a:lnTo>
                  <a:pt x="0" y="5592545"/>
                </a:lnTo>
                <a:close/>
                <a:moveTo>
                  <a:pt x="0" y="0"/>
                </a:moveTo>
                <a:lnTo>
                  <a:pt x="2076450" y="0"/>
                </a:lnTo>
                <a:lnTo>
                  <a:pt x="0" y="4449504"/>
                </a:lnTo>
                <a:close/>
              </a:path>
            </a:pathLst>
          </a:custGeom>
          <a:solidFill>
            <a:schemeClr val="bg1">
              <a:lumMod val="95000"/>
            </a:schemeClr>
          </a:solidFill>
        </p:spPr>
        <p:txBody>
          <a:bodyPr wrap="square">
            <a:noAutofit/>
          </a:bodyPr>
          <a:lstStyle>
            <a:lvl1pPr marL="0" indent="0">
              <a:buNone/>
              <a:defRPr sz="16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icon to add picture</a:t>
            </a:r>
            <a:endParaRPr lang="en-GB" dirty="0"/>
          </a:p>
        </p:txBody>
      </p:sp>
      <p:sp>
        <p:nvSpPr>
          <p:cNvPr id="13" name="Text Placeholder 12">
            <a:extLst>
              <a:ext uri="{FF2B5EF4-FFF2-40B4-BE49-F238E27FC236}">
                <a16:creationId xmlns:a16="http://schemas.microsoft.com/office/drawing/2014/main" id="{8D178927-5F27-1341-A788-4895FB7F64C6}"/>
              </a:ext>
            </a:extLst>
          </p:cNvPr>
          <p:cNvSpPr>
            <a:spLocks noGrp="1"/>
          </p:cNvSpPr>
          <p:nvPr>
            <p:ph type="body" sz="quarter" idx="12" hasCustomPrompt="1"/>
          </p:nvPr>
        </p:nvSpPr>
        <p:spPr>
          <a:xfrm>
            <a:off x="6425047" y="5241272"/>
            <a:ext cx="5184362" cy="371475"/>
          </a:xfrm>
        </p:spPr>
        <p:txBody>
          <a:bodyPr>
            <a:noAutofit/>
          </a:bodyPr>
          <a:lstStyle>
            <a:lvl1pPr marL="0" indent="0">
              <a:buNone/>
              <a:defRPr sz="2000" b="1">
                <a:solidFill>
                  <a:schemeClr val="tx1"/>
                </a:solidFill>
              </a:defRPr>
            </a:lvl1pPr>
          </a:lstStyle>
          <a:p>
            <a:pPr lvl="0"/>
            <a:r>
              <a:rPr lang="en-US" dirty="0"/>
              <a:t>Name  </a:t>
            </a:r>
            <a:r>
              <a:rPr lang="en-US" b="0" dirty="0"/>
              <a:t>|  Title</a:t>
            </a:r>
            <a:endParaRPr lang="en-US" dirty="0"/>
          </a:p>
        </p:txBody>
      </p:sp>
      <p:pic>
        <p:nvPicPr>
          <p:cNvPr id="16" name="Picture 15">
            <a:extLst>
              <a:ext uri="{FF2B5EF4-FFF2-40B4-BE49-F238E27FC236}">
                <a16:creationId xmlns:a16="http://schemas.microsoft.com/office/drawing/2014/main" id="{1596602E-F646-FA44-ABF3-93E344902C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96546" y="299377"/>
            <a:ext cx="1288232" cy="1288232"/>
          </a:xfrm>
          <a:prstGeom prst="rect">
            <a:avLst/>
          </a:prstGeom>
        </p:spPr>
      </p:pic>
    </p:spTree>
    <p:extLst>
      <p:ext uri="{BB962C8B-B14F-4D97-AF65-F5344CB8AC3E}">
        <p14:creationId xmlns:p14="http://schemas.microsoft.com/office/powerpoint/2010/main" val="330534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over Option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11432" y="2558006"/>
            <a:ext cx="5197976" cy="1345070"/>
          </a:xfrm>
        </p:spPr>
        <p:txBody>
          <a:bodyPr>
            <a:normAutofit/>
          </a:bodyPr>
          <a:lstStyle>
            <a:lvl1pPr algn="l">
              <a:defRPr sz="4800">
                <a:solidFill>
                  <a:schemeClr val="tx1"/>
                </a:solidFill>
              </a:defRPr>
            </a:lvl1pPr>
          </a:lstStyle>
          <a:p>
            <a:r>
              <a:rPr lang="en-US" dirty="0"/>
              <a:t>Presentation Title</a:t>
            </a:r>
          </a:p>
        </p:txBody>
      </p:sp>
      <p:sp>
        <p:nvSpPr>
          <p:cNvPr id="3" name="Subtitle 2"/>
          <p:cNvSpPr>
            <a:spLocks noGrp="1"/>
          </p:cNvSpPr>
          <p:nvPr>
            <p:ph type="subTitle" idx="1" hasCustomPrompt="1"/>
          </p:nvPr>
        </p:nvSpPr>
        <p:spPr>
          <a:xfrm>
            <a:off x="6415151" y="3679279"/>
            <a:ext cx="5197975" cy="1121274"/>
          </a:xfrm>
        </p:spPr>
        <p:txBody>
          <a:bodyPr>
            <a:normAutofit/>
          </a:bodyPr>
          <a:lstStyle>
            <a:lvl1pPr marL="0" indent="0" algn="l">
              <a:lnSpc>
                <a:spcPct val="100000"/>
              </a:lnSpc>
              <a:buNone/>
              <a:defRPr sz="2800">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ub head</a:t>
            </a:r>
            <a:br>
              <a:rPr lang="en-US" dirty="0"/>
            </a:br>
            <a:r>
              <a:rPr lang="en-US" dirty="0"/>
              <a:t>Line 2 </a:t>
            </a:r>
          </a:p>
        </p:txBody>
      </p:sp>
      <p:sp>
        <p:nvSpPr>
          <p:cNvPr id="5" name="TextBox 4">
            <a:extLst>
              <a:ext uri="{FF2B5EF4-FFF2-40B4-BE49-F238E27FC236}">
                <a16:creationId xmlns:a16="http://schemas.microsoft.com/office/drawing/2014/main" id="{91B5EC7A-E198-9B40-B23F-3EC2A3223964}"/>
              </a:ext>
            </a:extLst>
          </p:cNvPr>
          <p:cNvSpPr txBox="1"/>
          <p:nvPr userDrawn="1"/>
        </p:nvSpPr>
        <p:spPr>
          <a:xfrm>
            <a:off x="6411433" y="5994746"/>
            <a:ext cx="5473345" cy="646331"/>
          </a:xfrm>
          <a:prstGeom prst="rect">
            <a:avLst/>
          </a:prstGeom>
          <a:noFill/>
        </p:spPr>
        <p:txBody>
          <a:bodyPr wrap="square" rtlCol="0">
            <a:spAutoFit/>
          </a:bodyPr>
          <a:lstStyle/>
          <a:p>
            <a:r>
              <a:rPr lang="en-US" sz="900" kern="1200" dirty="0">
                <a:solidFill>
                  <a:schemeClr val="tx1">
                    <a:lumMod val="60000"/>
                    <a:lumOff val="40000"/>
                  </a:schemeClr>
                </a:solidFill>
                <a:effectLst/>
                <a:latin typeface="+mn-lt"/>
                <a:ea typeface="+mn-ea"/>
                <a:cs typeface="+mn-cs"/>
              </a:rPr>
              <a:t>Source: 2021 STR, LLC / STR Global, Ltd. trading as "STR". © CoStar Realty Information, Inc.  Any reprint, use or republication of all or a part of this presentation without the prior written approval of STR is strictly prohibited.  </a:t>
            </a:r>
            <a:br>
              <a:rPr lang="en-US" sz="900" kern="1200" dirty="0">
                <a:solidFill>
                  <a:schemeClr val="tx1">
                    <a:lumMod val="60000"/>
                    <a:lumOff val="40000"/>
                  </a:schemeClr>
                </a:solidFill>
                <a:effectLst/>
                <a:latin typeface="+mn-lt"/>
                <a:ea typeface="+mn-ea"/>
                <a:cs typeface="+mn-cs"/>
              </a:rPr>
            </a:br>
            <a:r>
              <a:rPr lang="en-US" sz="900" kern="1200" dirty="0">
                <a:solidFill>
                  <a:schemeClr val="tx1">
                    <a:lumMod val="60000"/>
                    <a:lumOff val="40000"/>
                  </a:schemeClr>
                </a:solidFill>
                <a:effectLst/>
                <a:latin typeface="+mn-lt"/>
                <a:ea typeface="+mn-ea"/>
                <a:cs typeface="+mn-cs"/>
              </a:rPr>
              <a:t>Any such reproduction shall specifically credit STR as the source.  This presentation is based on data collected by STR.  The information in the presentation should not be construed as investment, tax, accounting or legal advice.</a:t>
            </a:r>
          </a:p>
        </p:txBody>
      </p:sp>
      <p:sp>
        <p:nvSpPr>
          <p:cNvPr id="13" name="Text Placeholder 12">
            <a:extLst>
              <a:ext uri="{FF2B5EF4-FFF2-40B4-BE49-F238E27FC236}">
                <a16:creationId xmlns:a16="http://schemas.microsoft.com/office/drawing/2014/main" id="{8D178927-5F27-1341-A788-4895FB7F64C6}"/>
              </a:ext>
            </a:extLst>
          </p:cNvPr>
          <p:cNvSpPr>
            <a:spLocks noGrp="1"/>
          </p:cNvSpPr>
          <p:nvPr>
            <p:ph type="body" sz="quarter" idx="12" hasCustomPrompt="1"/>
          </p:nvPr>
        </p:nvSpPr>
        <p:spPr>
          <a:xfrm>
            <a:off x="6425047" y="5241272"/>
            <a:ext cx="5184362" cy="371475"/>
          </a:xfrm>
        </p:spPr>
        <p:txBody>
          <a:bodyPr>
            <a:noAutofit/>
          </a:bodyPr>
          <a:lstStyle>
            <a:lvl1pPr marL="0" indent="0">
              <a:buNone/>
              <a:defRPr sz="2000" b="1">
                <a:solidFill>
                  <a:schemeClr val="tx1"/>
                </a:solidFill>
              </a:defRPr>
            </a:lvl1pPr>
          </a:lstStyle>
          <a:p>
            <a:pPr lvl="0"/>
            <a:r>
              <a:rPr lang="en-US" dirty="0"/>
              <a:t>Name  </a:t>
            </a:r>
            <a:r>
              <a:rPr lang="en-US" b="0" dirty="0"/>
              <a:t>|  Title</a:t>
            </a:r>
            <a:endParaRPr lang="en-US" dirty="0"/>
          </a:p>
        </p:txBody>
      </p:sp>
      <p:sp>
        <p:nvSpPr>
          <p:cNvPr id="8" name="Snip Single Corner Rectangle 7">
            <a:extLst>
              <a:ext uri="{FF2B5EF4-FFF2-40B4-BE49-F238E27FC236}">
                <a16:creationId xmlns:a16="http://schemas.microsoft.com/office/drawing/2014/main" id="{3A2EDAB2-0943-D144-8046-DA11FC3A0C60}"/>
              </a:ext>
            </a:extLst>
          </p:cNvPr>
          <p:cNvSpPr/>
          <p:nvPr userDrawn="1"/>
        </p:nvSpPr>
        <p:spPr>
          <a:xfrm rot="16200000">
            <a:off x="-250518" y="223283"/>
            <a:ext cx="6858004" cy="6411430"/>
          </a:xfrm>
          <a:custGeom>
            <a:avLst/>
            <a:gdLst>
              <a:gd name="connsiteX0" fmla="*/ 0 w 6858003"/>
              <a:gd name="connsiteY0" fmla="*/ 0 h 5259964"/>
              <a:gd name="connsiteX1" fmla="*/ 5981325 w 6858003"/>
              <a:gd name="connsiteY1" fmla="*/ 0 h 5259964"/>
              <a:gd name="connsiteX2" fmla="*/ 6858003 w 6858003"/>
              <a:gd name="connsiteY2" fmla="*/ 876678 h 5259964"/>
              <a:gd name="connsiteX3" fmla="*/ 6858003 w 6858003"/>
              <a:gd name="connsiteY3" fmla="*/ 5259964 h 5259964"/>
              <a:gd name="connsiteX4" fmla="*/ 0 w 6858003"/>
              <a:gd name="connsiteY4" fmla="*/ 5259964 h 5259964"/>
              <a:gd name="connsiteX5" fmla="*/ 0 w 6858003"/>
              <a:gd name="connsiteY5" fmla="*/ 0 h 5259964"/>
              <a:gd name="connsiteX0" fmla="*/ 0 w 6858004"/>
              <a:gd name="connsiteY0" fmla="*/ 0 h 6411430"/>
              <a:gd name="connsiteX1" fmla="*/ 5981326 w 6858004"/>
              <a:gd name="connsiteY1" fmla="*/ 1151466 h 6411430"/>
              <a:gd name="connsiteX2" fmla="*/ 6858004 w 6858004"/>
              <a:gd name="connsiteY2" fmla="*/ 2028144 h 6411430"/>
              <a:gd name="connsiteX3" fmla="*/ 6858004 w 6858004"/>
              <a:gd name="connsiteY3" fmla="*/ 6411430 h 6411430"/>
              <a:gd name="connsiteX4" fmla="*/ 1 w 6858004"/>
              <a:gd name="connsiteY4" fmla="*/ 6411430 h 6411430"/>
              <a:gd name="connsiteX5" fmla="*/ 0 w 6858004"/>
              <a:gd name="connsiteY5" fmla="*/ 0 h 6411430"/>
              <a:gd name="connsiteX0" fmla="*/ 0 w 6858004"/>
              <a:gd name="connsiteY0" fmla="*/ 0 h 6411430"/>
              <a:gd name="connsiteX1" fmla="*/ 1951193 w 6858004"/>
              <a:gd name="connsiteY1" fmla="*/ 152400 h 6411430"/>
              <a:gd name="connsiteX2" fmla="*/ 6858004 w 6858004"/>
              <a:gd name="connsiteY2" fmla="*/ 2028144 h 6411430"/>
              <a:gd name="connsiteX3" fmla="*/ 6858004 w 6858004"/>
              <a:gd name="connsiteY3" fmla="*/ 6411430 h 6411430"/>
              <a:gd name="connsiteX4" fmla="*/ 1 w 6858004"/>
              <a:gd name="connsiteY4" fmla="*/ 6411430 h 6411430"/>
              <a:gd name="connsiteX5" fmla="*/ 0 w 6858004"/>
              <a:gd name="connsiteY5" fmla="*/ 0 h 6411430"/>
              <a:gd name="connsiteX0" fmla="*/ 0 w 6858004"/>
              <a:gd name="connsiteY0" fmla="*/ 0 h 6411430"/>
              <a:gd name="connsiteX1" fmla="*/ 1189193 w 6858004"/>
              <a:gd name="connsiteY1" fmla="*/ 0 h 6411430"/>
              <a:gd name="connsiteX2" fmla="*/ 6858004 w 6858004"/>
              <a:gd name="connsiteY2" fmla="*/ 2028144 h 6411430"/>
              <a:gd name="connsiteX3" fmla="*/ 6858004 w 6858004"/>
              <a:gd name="connsiteY3" fmla="*/ 6411430 h 6411430"/>
              <a:gd name="connsiteX4" fmla="*/ 1 w 6858004"/>
              <a:gd name="connsiteY4" fmla="*/ 6411430 h 6411430"/>
              <a:gd name="connsiteX5" fmla="*/ 0 w 6858004"/>
              <a:gd name="connsiteY5" fmla="*/ 0 h 6411430"/>
              <a:gd name="connsiteX0" fmla="*/ 0 w 6858004"/>
              <a:gd name="connsiteY0" fmla="*/ 0 h 6411430"/>
              <a:gd name="connsiteX1" fmla="*/ 1189193 w 6858004"/>
              <a:gd name="connsiteY1" fmla="*/ 0 h 6411430"/>
              <a:gd name="connsiteX2" fmla="*/ 6858004 w 6858004"/>
              <a:gd name="connsiteY2" fmla="*/ 2028144 h 6411430"/>
              <a:gd name="connsiteX3" fmla="*/ 6858004 w 6858004"/>
              <a:gd name="connsiteY3" fmla="*/ 6411430 h 6411430"/>
              <a:gd name="connsiteX4" fmla="*/ 1 w 6858004"/>
              <a:gd name="connsiteY4" fmla="*/ 3956097 h 6411430"/>
              <a:gd name="connsiteX5" fmla="*/ 0 w 6858004"/>
              <a:gd name="connsiteY5" fmla="*/ 0 h 6411430"/>
              <a:gd name="connsiteX0" fmla="*/ 0 w 6858004"/>
              <a:gd name="connsiteY0" fmla="*/ 0 h 6411430"/>
              <a:gd name="connsiteX1" fmla="*/ 1189193 w 6858004"/>
              <a:gd name="connsiteY1" fmla="*/ 0 h 6411430"/>
              <a:gd name="connsiteX2" fmla="*/ 6858004 w 6858004"/>
              <a:gd name="connsiteY2" fmla="*/ 2028144 h 6411430"/>
              <a:gd name="connsiteX3" fmla="*/ 6858004 w 6858004"/>
              <a:gd name="connsiteY3" fmla="*/ 6411430 h 6411430"/>
              <a:gd name="connsiteX4" fmla="*/ 16935 w 6858004"/>
              <a:gd name="connsiteY4" fmla="*/ 3448097 h 6411430"/>
              <a:gd name="connsiteX5" fmla="*/ 0 w 6858004"/>
              <a:gd name="connsiteY5" fmla="*/ 0 h 6411430"/>
              <a:gd name="connsiteX0" fmla="*/ 0 w 6858004"/>
              <a:gd name="connsiteY0" fmla="*/ 0 h 6411430"/>
              <a:gd name="connsiteX1" fmla="*/ 1189193 w 6858004"/>
              <a:gd name="connsiteY1" fmla="*/ 0 h 6411430"/>
              <a:gd name="connsiteX2" fmla="*/ 6858004 w 6858004"/>
              <a:gd name="connsiteY2" fmla="*/ 2028144 h 6411430"/>
              <a:gd name="connsiteX3" fmla="*/ 6858004 w 6858004"/>
              <a:gd name="connsiteY3" fmla="*/ 6411430 h 6411430"/>
              <a:gd name="connsiteX4" fmla="*/ 2 w 6858004"/>
              <a:gd name="connsiteY4" fmla="*/ 3973030 h 6411430"/>
              <a:gd name="connsiteX5" fmla="*/ 0 w 6858004"/>
              <a:gd name="connsiteY5" fmla="*/ 0 h 6411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4" h="6411430">
                <a:moveTo>
                  <a:pt x="0" y="0"/>
                </a:moveTo>
                <a:lnTo>
                  <a:pt x="1189193" y="0"/>
                </a:lnTo>
                <a:lnTo>
                  <a:pt x="6858004" y="2028144"/>
                </a:lnTo>
                <a:lnTo>
                  <a:pt x="6858004" y="6411430"/>
                </a:lnTo>
                <a:lnTo>
                  <a:pt x="2" y="3973030"/>
                </a:lnTo>
                <a:cubicBezTo>
                  <a:pt x="2" y="1835887"/>
                  <a:pt x="0" y="2137143"/>
                  <a:pt x="0" y="0"/>
                </a:cubicBezTo>
                <a:close/>
              </a:path>
            </a:pathLst>
          </a:cu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ight Triangle 8">
            <a:extLst>
              <a:ext uri="{FF2B5EF4-FFF2-40B4-BE49-F238E27FC236}">
                <a16:creationId xmlns:a16="http://schemas.microsoft.com/office/drawing/2014/main" id="{678CC7F3-E630-4143-BA53-2A9E03A0716E}"/>
              </a:ext>
            </a:extLst>
          </p:cNvPr>
          <p:cNvSpPr/>
          <p:nvPr userDrawn="1"/>
        </p:nvSpPr>
        <p:spPr>
          <a:xfrm flipV="1">
            <a:off x="1" y="0"/>
            <a:ext cx="1574800" cy="4453467"/>
          </a:xfrm>
          <a:custGeom>
            <a:avLst/>
            <a:gdLst>
              <a:gd name="connsiteX0" fmla="*/ 0 w 1439333"/>
              <a:gd name="connsiteY0" fmla="*/ 4453467 h 4453467"/>
              <a:gd name="connsiteX1" fmla="*/ 0 w 1439333"/>
              <a:gd name="connsiteY1" fmla="*/ 0 h 4453467"/>
              <a:gd name="connsiteX2" fmla="*/ 1439333 w 1439333"/>
              <a:gd name="connsiteY2" fmla="*/ 4453467 h 4453467"/>
              <a:gd name="connsiteX3" fmla="*/ 0 w 1439333"/>
              <a:gd name="connsiteY3" fmla="*/ 4453467 h 4453467"/>
              <a:gd name="connsiteX0" fmla="*/ 0 w 1574800"/>
              <a:gd name="connsiteY0" fmla="*/ 4453467 h 4453467"/>
              <a:gd name="connsiteX1" fmla="*/ 0 w 1574800"/>
              <a:gd name="connsiteY1" fmla="*/ 0 h 4453467"/>
              <a:gd name="connsiteX2" fmla="*/ 1574800 w 1574800"/>
              <a:gd name="connsiteY2" fmla="*/ 4453467 h 4453467"/>
              <a:gd name="connsiteX3" fmla="*/ 0 w 1574800"/>
              <a:gd name="connsiteY3" fmla="*/ 4453467 h 4453467"/>
            </a:gdLst>
            <a:ahLst/>
            <a:cxnLst>
              <a:cxn ang="0">
                <a:pos x="connsiteX0" y="connsiteY0"/>
              </a:cxn>
              <a:cxn ang="0">
                <a:pos x="connsiteX1" y="connsiteY1"/>
              </a:cxn>
              <a:cxn ang="0">
                <a:pos x="connsiteX2" y="connsiteY2"/>
              </a:cxn>
              <a:cxn ang="0">
                <a:pos x="connsiteX3" y="connsiteY3"/>
              </a:cxn>
            </a:cxnLst>
            <a:rect l="l" t="t" r="r" b="b"/>
            <a:pathLst>
              <a:path w="1574800" h="4453467">
                <a:moveTo>
                  <a:pt x="0" y="4453467"/>
                </a:moveTo>
                <a:lnTo>
                  <a:pt x="0" y="0"/>
                </a:lnTo>
                <a:lnTo>
                  <a:pt x="1574800" y="4453467"/>
                </a:lnTo>
                <a:lnTo>
                  <a:pt x="0" y="4453467"/>
                </a:lnTo>
                <a:close/>
              </a:path>
            </a:pathLst>
          </a:cu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25B967B2-DACA-3A4B-BA71-736D2B2EA3D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96546" y="299377"/>
            <a:ext cx="1288232" cy="1288232"/>
          </a:xfrm>
          <a:prstGeom prst="rect">
            <a:avLst/>
          </a:prstGeom>
        </p:spPr>
      </p:pic>
    </p:spTree>
    <p:extLst>
      <p:ext uri="{BB962C8B-B14F-4D97-AF65-F5344CB8AC3E}">
        <p14:creationId xmlns:p14="http://schemas.microsoft.com/office/powerpoint/2010/main" val="2228365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5435600" y="1646814"/>
            <a:ext cx="6116320" cy="4569344"/>
          </a:xfrm>
        </p:spPr>
        <p:txBody>
          <a:bodyPr>
            <a:normAutofit/>
          </a:bodyPr>
          <a:lstStyle>
            <a:lvl1pPr marL="0" indent="0">
              <a:buNone/>
              <a:defRPr sz="16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1"/>
          <p:cNvSpPr>
            <a:spLocks noGrp="1"/>
          </p:cNvSpPr>
          <p:nvPr>
            <p:ph type="title" hasCustomPrompt="1"/>
          </p:nvPr>
        </p:nvSpPr>
        <p:spPr>
          <a:xfrm>
            <a:off x="576001" y="432002"/>
            <a:ext cx="9783850" cy="345972"/>
          </a:xfrm>
          <a:prstGeom prst="rect">
            <a:avLst/>
          </a:prstGeom>
        </p:spPr>
        <p:txBody>
          <a:bodyPr>
            <a:noAutofit/>
          </a:bodyPr>
          <a:lstStyle>
            <a:lvl1pPr algn="l">
              <a:lnSpc>
                <a:spcPts val="2667"/>
              </a:lnSpc>
              <a:defRPr sz="2800" b="1">
                <a:solidFill>
                  <a:schemeClr val="tx1">
                    <a:lumMod val="50000"/>
                  </a:schemeClr>
                </a:solidFill>
                <a:latin typeface="+mn-lt"/>
                <a:cs typeface="Arial" pitchFamily="34" charset="0"/>
              </a:defRPr>
            </a:lvl1pPr>
          </a:lstStyle>
          <a:p>
            <a:r>
              <a:rPr lang="en-US" dirty="0"/>
              <a:t>Title</a:t>
            </a:r>
            <a:endParaRPr lang="en-GB" dirty="0"/>
          </a:p>
        </p:txBody>
      </p:sp>
      <p:sp>
        <p:nvSpPr>
          <p:cNvPr id="7" name="Text Placeholder 7"/>
          <p:cNvSpPr>
            <a:spLocks noGrp="1"/>
          </p:cNvSpPr>
          <p:nvPr>
            <p:ph type="body" sz="quarter" idx="13" hasCustomPrompt="1"/>
          </p:nvPr>
        </p:nvSpPr>
        <p:spPr>
          <a:xfrm>
            <a:off x="576000" y="781882"/>
            <a:ext cx="9783851" cy="303340"/>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8" name="Text Placeholder 7"/>
          <p:cNvSpPr>
            <a:spLocks noGrp="1"/>
          </p:cNvSpPr>
          <p:nvPr>
            <p:ph type="body" sz="quarter" idx="14" hasCustomPrompt="1"/>
          </p:nvPr>
        </p:nvSpPr>
        <p:spPr>
          <a:xfrm>
            <a:off x="576000" y="1094920"/>
            <a:ext cx="9783851" cy="331946"/>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10" name="Picture Placeholder 2">
            <a:extLst>
              <a:ext uri="{FF2B5EF4-FFF2-40B4-BE49-F238E27FC236}">
                <a16:creationId xmlns:a16="http://schemas.microsoft.com/office/drawing/2014/main" id="{B862C0C1-4BDB-4349-BFEA-32719B7B0F53}"/>
              </a:ext>
            </a:extLst>
          </p:cNvPr>
          <p:cNvSpPr>
            <a:spLocks noGrp="1"/>
          </p:cNvSpPr>
          <p:nvPr>
            <p:ph type="pic" sz="quarter" idx="26"/>
          </p:nvPr>
        </p:nvSpPr>
        <p:spPr>
          <a:xfrm>
            <a:off x="576000" y="1646814"/>
            <a:ext cx="4491300" cy="4569343"/>
          </a:xfrm>
          <a:solidFill>
            <a:schemeClr val="bg1">
              <a:lumMod val="90000"/>
            </a:schemeClr>
          </a:solidFill>
          <a:ln>
            <a:noFill/>
          </a:ln>
        </p:spPr>
        <p:txBody>
          <a:bodyPr anchor="t">
            <a:normAutofit/>
          </a:bodyPr>
          <a:lstStyle>
            <a:lvl1pPr marL="0" indent="0" algn="ctr">
              <a:buNone/>
              <a:defRPr sz="1100" b="0" i="0">
                <a:latin typeface="Source Sans Pro Light" panose="020B0403030403020204" pitchFamily="34" charset="0"/>
                <a:ea typeface="Noto Sans Light" panose="020B0402040504020204" pitchFamily="34" charset="0"/>
                <a:cs typeface="Noto Sans Light" panose="020B0402040504020204" pitchFamily="34" charset="0"/>
              </a:defRPr>
            </a:lvl1pPr>
          </a:lstStyle>
          <a:p>
            <a:r>
              <a:rPr lang="en-US" dirty="0"/>
              <a:t>Click icon to add picture</a:t>
            </a:r>
            <a:endParaRPr lang="id-ID" dirty="0"/>
          </a:p>
        </p:txBody>
      </p:sp>
      <p:sp>
        <p:nvSpPr>
          <p:cNvPr id="12" name="TextBox 11">
            <a:extLst>
              <a:ext uri="{FF2B5EF4-FFF2-40B4-BE49-F238E27FC236}">
                <a16:creationId xmlns:a16="http://schemas.microsoft.com/office/drawing/2014/main" id="{64F117CF-BE0A-2648-A05B-00B7FA16EA15}"/>
              </a:ext>
            </a:extLst>
          </p:cNvPr>
          <p:cNvSpPr txBox="1"/>
          <p:nvPr userDrawn="1"/>
        </p:nvSpPr>
        <p:spPr>
          <a:xfrm>
            <a:off x="482712" y="6389493"/>
            <a:ext cx="11069208" cy="230832"/>
          </a:xfrm>
          <a:prstGeom prst="rect">
            <a:avLst/>
          </a:prstGeom>
          <a:noFill/>
        </p:spPr>
        <p:txBody>
          <a:bodyPr wrap="square" rtlCol="0">
            <a:spAutoFit/>
          </a:bodyPr>
          <a:lstStyle/>
          <a:p>
            <a:pPr algn="r"/>
            <a:r>
              <a:rPr lang="en-US" sz="900" b="0" dirty="0">
                <a:solidFill>
                  <a:schemeClr val="tx1">
                    <a:lumMod val="60000"/>
                    <a:lumOff val="40000"/>
                  </a:schemeClr>
                </a:solidFill>
              </a:rPr>
              <a:t>﻿Source: STR. 2021 © CoStar Realty Information, Inc.</a:t>
            </a:r>
          </a:p>
        </p:txBody>
      </p:sp>
      <p:sp>
        <p:nvSpPr>
          <p:cNvPr id="6" name="Slide Number Placeholder 5">
            <a:extLst>
              <a:ext uri="{FF2B5EF4-FFF2-40B4-BE49-F238E27FC236}">
                <a16:creationId xmlns:a16="http://schemas.microsoft.com/office/drawing/2014/main" id="{31F44FF9-C96C-C345-8A79-7BD349424669}"/>
              </a:ext>
            </a:extLst>
          </p:cNvPr>
          <p:cNvSpPr>
            <a:spLocks noGrp="1"/>
          </p:cNvSpPr>
          <p:nvPr>
            <p:ph type="sldNum" sz="quarter" idx="28"/>
          </p:nvPr>
        </p:nvSpPr>
        <p:spPr>
          <a:xfrm>
            <a:off x="10924330" y="6371320"/>
            <a:ext cx="473598" cy="185724"/>
          </a:xfrm>
          <a:prstGeom prst="rect">
            <a:avLst/>
          </a:prstGeom>
        </p:spPr>
        <p:txBody>
          <a:bodyPr/>
          <a:lstStyle>
            <a:lvl1pPr>
              <a:defRPr>
                <a:solidFill>
                  <a:schemeClr val="tx1">
                    <a:lumMod val="60000"/>
                    <a:lumOff val="40000"/>
                  </a:schemeClr>
                </a:solidFill>
              </a:defRPr>
            </a:lvl1pPr>
          </a:lstStyle>
          <a:p>
            <a:fld id="{32413461-4BB7-634E-A64C-F44C59018A3C}" type="slidenum">
              <a:rPr lang="en-US" smtClean="0"/>
              <a:pPr/>
              <a:t>‹#›</a:t>
            </a:fld>
            <a:endParaRPr lang="en-US" dirty="0"/>
          </a:p>
        </p:txBody>
      </p:sp>
      <p:pic>
        <p:nvPicPr>
          <p:cNvPr id="17" name="Picture 16">
            <a:extLst>
              <a:ext uri="{FF2B5EF4-FFF2-40B4-BE49-F238E27FC236}">
                <a16:creationId xmlns:a16="http://schemas.microsoft.com/office/drawing/2014/main" id="{EF8A087C-B39C-554E-A4D3-29C716FAB52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11078" y="299377"/>
            <a:ext cx="973700" cy="973700"/>
          </a:xfrm>
          <a:prstGeom prst="rect">
            <a:avLst/>
          </a:prstGeom>
        </p:spPr>
      </p:pic>
    </p:spTree>
    <p:extLst>
      <p:ext uri="{BB962C8B-B14F-4D97-AF65-F5344CB8AC3E}">
        <p14:creationId xmlns:p14="http://schemas.microsoft.com/office/powerpoint/2010/main" val="2324455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79120" y="1600201"/>
            <a:ext cx="10972800" cy="4615957"/>
          </a:xfrm>
        </p:spPr>
        <p:txBody>
          <a:bodyPr>
            <a:normAutofit/>
          </a:bodyPr>
          <a:lstStyle>
            <a:lvl1pPr marL="0" indent="0">
              <a:buClr>
                <a:schemeClr val="tx1"/>
              </a:buClr>
              <a:buFont typeface="Arial" panose="020B0604020202020204" pitchFamily="34" charset="0"/>
              <a:buNone/>
              <a:defRPr sz="1400">
                <a:solidFill>
                  <a:schemeClr val="tx1"/>
                </a:solidFill>
              </a:defRPr>
            </a:lvl1pPr>
            <a:lvl2pPr>
              <a:defRPr sz="1600">
                <a:solidFill>
                  <a:schemeClr val="tx1"/>
                </a:solidFill>
              </a:defRPr>
            </a:lvl2pPr>
            <a:lvl3pPr>
              <a:buClr>
                <a:schemeClr val="tx1"/>
              </a:buClr>
              <a:defRPr sz="1600">
                <a:solidFill>
                  <a:schemeClr val="tx1"/>
                </a:solidFill>
              </a:defRPr>
            </a:lvl3pPr>
            <a:lvl4pPr>
              <a:buClr>
                <a:schemeClr val="tx1"/>
              </a:buClr>
              <a:defRPr sz="1400">
                <a:solidFill>
                  <a:schemeClr val="tx1"/>
                </a:solidFill>
              </a:defRPr>
            </a:lvl4pPr>
            <a:lvl5pPr>
              <a:buClr>
                <a:schemeClr val="tx1"/>
              </a:buClr>
              <a:defRPr sz="1600">
                <a:solidFill>
                  <a:schemeClr val="tx1"/>
                </a:solidFill>
              </a:defRPr>
            </a:lvl5pPr>
          </a:lstStyle>
          <a:p>
            <a:pPr lvl="0"/>
            <a:r>
              <a:rPr lang="en-US" dirty="0"/>
              <a:t>Click to edit Master text styles</a:t>
            </a:r>
          </a:p>
        </p:txBody>
      </p:sp>
      <p:sp>
        <p:nvSpPr>
          <p:cNvPr id="5" name="Title 1"/>
          <p:cNvSpPr>
            <a:spLocks noGrp="1"/>
          </p:cNvSpPr>
          <p:nvPr>
            <p:ph type="title" hasCustomPrompt="1"/>
          </p:nvPr>
        </p:nvSpPr>
        <p:spPr>
          <a:xfrm>
            <a:off x="576001" y="432002"/>
            <a:ext cx="9783850" cy="345972"/>
          </a:xfrm>
          <a:prstGeom prst="rect">
            <a:avLst/>
          </a:prstGeom>
        </p:spPr>
        <p:txBody>
          <a:bodyPr>
            <a:noAutofit/>
          </a:bodyPr>
          <a:lstStyle>
            <a:lvl1pPr algn="l">
              <a:lnSpc>
                <a:spcPts val="2667"/>
              </a:lnSpc>
              <a:defRPr sz="2800" b="1">
                <a:solidFill>
                  <a:schemeClr val="tx1"/>
                </a:solidFill>
                <a:latin typeface="+mn-lt"/>
                <a:cs typeface="Arial" pitchFamily="34" charset="0"/>
              </a:defRPr>
            </a:lvl1pPr>
          </a:lstStyle>
          <a:p>
            <a:r>
              <a:rPr lang="en-US" dirty="0"/>
              <a:t>Title</a:t>
            </a:r>
            <a:endParaRPr lang="en-GB" dirty="0"/>
          </a:p>
        </p:txBody>
      </p:sp>
      <p:sp>
        <p:nvSpPr>
          <p:cNvPr id="7" name="Text Placeholder 7"/>
          <p:cNvSpPr>
            <a:spLocks noGrp="1"/>
          </p:cNvSpPr>
          <p:nvPr>
            <p:ph type="body" sz="quarter" idx="13" hasCustomPrompt="1"/>
          </p:nvPr>
        </p:nvSpPr>
        <p:spPr>
          <a:xfrm>
            <a:off x="576000" y="781882"/>
            <a:ext cx="9783851" cy="303340"/>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8" name="Text Placeholder 7"/>
          <p:cNvSpPr>
            <a:spLocks noGrp="1"/>
          </p:cNvSpPr>
          <p:nvPr>
            <p:ph type="body" sz="quarter" idx="14" hasCustomPrompt="1"/>
          </p:nvPr>
        </p:nvSpPr>
        <p:spPr>
          <a:xfrm>
            <a:off x="576000" y="1094920"/>
            <a:ext cx="9783851" cy="331946"/>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10" name="TextBox 9">
            <a:extLst>
              <a:ext uri="{FF2B5EF4-FFF2-40B4-BE49-F238E27FC236}">
                <a16:creationId xmlns:a16="http://schemas.microsoft.com/office/drawing/2014/main" id="{386979A0-BF26-1548-81F1-1C74D95539E9}"/>
              </a:ext>
            </a:extLst>
          </p:cNvPr>
          <p:cNvSpPr txBox="1"/>
          <p:nvPr userDrawn="1"/>
        </p:nvSpPr>
        <p:spPr>
          <a:xfrm>
            <a:off x="482712" y="6389493"/>
            <a:ext cx="11069208" cy="230832"/>
          </a:xfrm>
          <a:prstGeom prst="rect">
            <a:avLst/>
          </a:prstGeom>
          <a:noFill/>
        </p:spPr>
        <p:txBody>
          <a:bodyPr wrap="square" rtlCol="0">
            <a:spAutoFit/>
          </a:bodyPr>
          <a:lstStyle/>
          <a:p>
            <a:pPr algn="r"/>
            <a:r>
              <a:rPr lang="en-US" sz="900" b="0" dirty="0">
                <a:solidFill>
                  <a:schemeClr val="bg1">
                    <a:lumMod val="50000"/>
                  </a:schemeClr>
                </a:solidFill>
              </a:rPr>
              <a:t>﻿</a:t>
            </a:r>
            <a:r>
              <a:rPr lang="en-US" sz="900" b="0" dirty="0">
                <a:solidFill>
                  <a:schemeClr val="tx1">
                    <a:lumMod val="60000"/>
                    <a:lumOff val="40000"/>
                  </a:schemeClr>
                </a:solidFill>
              </a:rPr>
              <a:t>Source</a:t>
            </a:r>
            <a:r>
              <a:rPr lang="en-US" sz="900" b="0" dirty="0">
                <a:solidFill>
                  <a:schemeClr val="bg1">
                    <a:lumMod val="50000"/>
                  </a:schemeClr>
                </a:solidFill>
              </a:rPr>
              <a:t>: STR. 2021 © CoStar Realty Information, Inc.</a:t>
            </a:r>
          </a:p>
        </p:txBody>
      </p:sp>
      <p:sp>
        <p:nvSpPr>
          <p:cNvPr id="14" name="Slide Number Placeholder 13">
            <a:extLst>
              <a:ext uri="{FF2B5EF4-FFF2-40B4-BE49-F238E27FC236}">
                <a16:creationId xmlns:a16="http://schemas.microsoft.com/office/drawing/2014/main" id="{26AC4372-3CF9-954E-ACFA-EAF02AA9725A}"/>
              </a:ext>
            </a:extLst>
          </p:cNvPr>
          <p:cNvSpPr>
            <a:spLocks noGrp="1"/>
          </p:cNvSpPr>
          <p:nvPr>
            <p:ph type="sldNum" sz="quarter" idx="15"/>
          </p:nvPr>
        </p:nvSpPr>
        <p:spPr>
          <a:xfrm>
            <a:off x="11345601" y="6412376"/>
            <a:ext cx="473598" cy="185724"/>
          </a:xfrm>
          <a:prstGeom prst="rect">
            <a:avLst/>
          </a:prstGeom>
        </p:spPr>
        <p:txBody>
          <a:bodyPr/>
          <a:lstStyle>
            <a:lvl1pPr>
              <a:defRPr>
                <a:solidFill>
                  <a:schemeClr val="tx1">
                    <a:lumMod val="60000"/>
                    <a:lumOff val="40000"/>
                  </a:schemeClr>
                </a:solidFill>
              </a:defRPr>
            </a:lvl1pPr>
          </a:lstStyle>
          <a:p>
            <a:fld id="{32413461-4BB7-634E-A64C-F44C59018A3C}" type="slidenum">
              <a:rPr lang="en-US" smtClean="0"/>
              <a:pPr/>
              <a:t>‹#›</a:t>
            </a:fld>
            <a:endParaRPr lang="en-US" dirty="0"/>
          </a:p>
        </p:txBody>
      </p:sp>
      <p:pic>
        <p:nvPicPr>
          <p:cNvPr id="15" name="Picture 14">
            <a:extLst>
              <a:ext uri="{FF2B5EF4-FFF2-40B4-BE49-F238E27FC236}">
                <a16:creationId xmlns:a16="http://schemas.microsoft.com/office/drawing/2014/main" id="{90A5E345-3A7E-714D-8C0F-5B9A34833E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11078" y="299377"/>
            <a:ext cx="973700" cy="973700"/>
          </a:xfrm>
          <a:prstGeom prst="rect">
            <a:avLst/>
          </a:prstGeom>
        </p:spPr>
      </p:pic>
    </p:spTree>
    <p:extLst>
      <p:ext uri="{BB962C8B-B14F-4D97-AF65-F5344CB8AC3E}">
        <p14:creationId xmlns:p14="http://schemas.microsoft.com/office/powerpoint/2010/main" val="3278875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nd Chart">
    <p:bg>
      <p:bgPr>
        <a:solidFill>
          <a:schemeClr val="bg1"/>
        </a:solidFill>
        <a:effectLst/>
      </p:bgPr>
    </p:bg>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586936" y="1548033"/>
            <a:ext cx="10972800" cy="4668125"/>
          </a:xfrm>
          <a:prstGeom prst="rect">
            <a:avLst/>
          </a:prstGeom>
        </p:spPr>
        <p:txBody>
          <a:bodyPr>
            <a:normAutofit/>
          </a:bodyPr>
          <a:lstStyle>
            <a:lvl1pPr marL="0" indent="0">
              <a:buNone/>
              <a:defRPr sz="1400">
                <a:solidFill>
                  <a:schemeClr val="tx1"/>
                </a:solidFill>
              </a:defRPr>
            </a:lvl1pPr>
          </a:lstStyle>
          <a:p>
            <a:pPr lvl="0"/>
            <a:r>
              <a:rPr lang="en-US" noProof="0" dirty="0"/>
              <a:t>Click icon to add chart</a:t>
            </a:r>
          </a:p>
        </p:txBody>
      </p:sp>
      <p:sp>
        <p:nvSpPr>
          <p:cNvPr id="9" name="Title 1"/>
          <p:cNvSpPr>
            <a:spLocks noGrp="1"/>
          </p:cNvSpPr>
          <p:nvPr>
            <p:ph type="title" hasCustomPrompt="1"/>
          </p:nvPr>
        </p:nvSpPr>
        <p:spPr>
          <a:xfrm>
            <a:off x="576001" y="432002"/>
            <a:ext cx="9783850" cy="345972"/>
          </a:xfrm>
          <a:prstGeom prst="rect">
            <a:avLst/>
          </a:prstGeom>
        </p:spPr>
        <p:txBody>
          <a:bodyPr>
            <a:noAutofit/>
          </a:bodyPr>
          <a:lstStyle>
            <a:lvl1pPr algn="l">
              <a:lnSpc>
                <a:spcPts val="2667"/>
              </a:lnSpc>
              <a:defRPr sz="2800" b="1">
                <a:solidFill>
                  <a:schemeClr val="tx1"/>
                </a:solidFill>
                <a:latin typeface="+mn-lt"/>
                <a:cs typeface="Arial" pitchFamily="34" charset="0"/>
              </a:defRPr>
            </a:lvl1pPr>
          </a:lstStyle>
          <a:p>
            <a:r>
              <a:rPr lang="en-US" dirty="0"/>
              <a:t>Title</a:t>
            </a:r>
            <a:endParaRPr lang="en-GB" dirty="0"/>
          </a:p>
        </p:txBody>
      </p:sp>
      <p:sp>
        <p:nvSpPr>
          <p:cNvPr id="10" name="Text Placeholder 7"/>
          <p:cNvSpPr>
            <a:spLocks noGrp="1"/>
          </p:cNvSpPr>
          <p:nvPr>
            <p:ph type="body" sz="quarter" idx="13" hasCustomPrompt="1"/>
          </p:nvPr>
        </p:nvSpPr>
        <p:spPr>
          <a:xfrm>
            <a:off x="576000" y="781882"/>
            <a:ext cx="9783851" cy="303340"/>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15" name="TextBox 14">
            <a:extLst>
              <a:ext uri="{FF2B5EF4-FFF2-40B4-BE49-F238E27FC236}">
                <a16:creationId xmlns:a16="http://schemas.microsoft.com/office/drawing/2014/main" id="{8D1CD48B-3AEB-BE41-A129-ABCFA5E8C911}"/>
              </a:ext>
            </a:extLst>
          </p:cNvPr>
          <p:cNvSpPr txBox="1"/>
          <p:nvPr userDrawn="1"/>
        </p:nvSpPr>
        <p:spPr>
          <a:xfrm>
            <a:off x="482712" y="6389493"/>
            <a:ext cx="11069208" cy="230832"/>
          </a:xfrm>
          <a:prstGeom prst="rect">
            <a:avLst/>
          </a:prstGeom>
          <a:noFill/>
        </p:spPr>
        <p:txBody>
          <a:bodyPr wrap="square" rtlCol="0">
            <a:spAutoFit/>
          </a:bodyPr>
          <a:lstStyle/>
          <a:p>
            <a:pPr algn="r"/>
            <a:r>
              <a:rPr lang="en-US" sz="900" b="0" dirty="0">
                <a:solidFill>
                  <a:schemeClr val="bg1">
                    <a:lumMod val="50000"/>
                  </a:schemeClr>
                </a:solidFill>
              </a:rPr>
              <a:t>﻿</a:t>
            </a:r>
            <a:r>
              <a:rPr lang="en-US" sz="900" b="0" dirty="0">
                <a:solidFill>
                  <a:schemeClr val="tx1">
                    <a:lumMod val="60000"/>
                    <a:lumOff val="40000"/>
                  </a:schemeClr>
                </a:solidFill>
              </a:rPr>
              <a:t>Source</a:t>
            </a:r>
            <a:r>
              <a:rPr lang="en-US" sz="900" b="0" dirty="0">
                <a:solidFill>
                  <a:schemeClr val="bg1">
                    <a:lumMod val="50000"/>
                  </a:schemeClr>
                </a:solidFill>
              </a:rPr>
              <a:t>: STR. 2021 © CoStar Realty Information, Inc.</a:t>
            </a:r>
          </a:p>
        </p:txBody>
      </p:sp>
      <p:pic>
        <p:nvPicPr>
          <p:cNvPr id="20" name="Picture 19">
            <a:extLst>
              <a:ext uri="{FF2B5EF4-FFF2-40B4-BE49-F238E27FC236}">
                <a16:creationId xmlns:a16="http://schemas.microsoft.com/office/drawing/2014/main" id="{69B5EC53-52FC-FA4B-A1BB-A8D5B47EE7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11078" y="299377"/>
            <a:ext cx="973700" cy="973700"/>
          </a:xfrm>
          <a:prstGeom prst="rect">
            <a:avLst/>
          </a:prstGeom>
        </p:spPr>
      </p:pic>
      <p:sp>
        <p:nvSpPr>
          <p:cNvPr id="2" name="Slide Number Placeholder 1">
            <a:extLst>
              <a:ext uri="{FF2B5EF4-FFF2-40B4-BE49-F238E27FC236}">
                <a16:creationId xmlns:a16="http://schemas.microsoft.com/office/drawing/2014/main" id="{55CE7B01-ADF3-DA4C-9BEA-28D51A69CAAE}"/>
              </a:ext>
            </a:extLst>
          </p:cNvPr>
          <p:cNvSpPr>
            <a:spLocks noGrp="1"/>
          </p:cNvSpPr>
          <p:nvPr>
            <p:ph type="sldNum" sz="quarter" idx="14"/>
          </p:nvPr>
        </p:nvSpPr>
        <p:spPr>
          <a:xfrm>
            <a:off x="11345601" y="6412376"/>
            <a:ext cx="473598" cy="185724"/>
          </a:xfrm>
          <a:prstGeom prst="rect">
            <a:avLst/>
          </a:prstGeom>
        </p:spPr>
        <p:txBody>
          <a:bodyPr/>
          <a:lstStyle>
            <a:lvl1pPr>
              <a:defRPr>
                <a:solidFill>
                  <a:schemeClr val="tx1">
                    <a:lumMod val="60000"/>
                    <a:lumOff val="40000"/>
                  </a:schemeClr>
                </a:solidFill>
              </a:defRPr>
            </a:lvl1pPr>
          </a:lstStyle>
          <a:p>
            <a:fld id="{32413461-4BB7-634E-A64C-F44C59018A3C}" type="slidenum">
              <a:rPr lang="en-US" smtClean="0"/>
              <a:pPr/>
              <a:t>‹#›</a:t>
            </a:fld>
            <a:endParaRPr lang="en-US" dirty="0"/>
          </a:p>
        </p:txBody>
      </p:sp>
    </p:spTree>
    <p:extLst>
      <p:ext uri="{BB962C8B-B14F-4D97-AF65-F5344CB8AC3E}">
        <p14:creationId xmlns:p14="http://schemas.microsoft.com/office/powerpoint/2010/main" val="97542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_only">
    <p:bg>
      <p:bgPr>
        <a:solidFill>
          <a:schemeClr val="bg1"/>
        </a:soli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576001" y="432002"/>
            <a:ext cx="9783850" cy="345972"/>
          </a:xfrm>
          <a:prstGeom prst="rect">
            <a:avLst/>
          </a:prstGeom>
        </p:spPr>
        <p:txBody>
          <a:bodyPr>
            <a:noAutofit/>
          </a:bodyPr>
          <a:lstStyle>
            <a:lvl1pPr algn="l">
              <a:lnSpc>
                <a:spcPts val="2667"/>
              </a:lnSpc>
              <a:defRPr sz="2800" b="1">
                <a:solidFill>
                  <a:schemeClr val="tx1"/>
                </a:solidFill>
                <a:latin typeface="+mn-lt"/>
                <a:cs typeface="Arial" pitchFamily="34" charset="0"/>
              </a:defRPr>
            </a:lvl1pPr>
          </a:lstStyle>
          <a:p>
            <a:r>
              <a:rPr lang="en-US" dirty="0"/>
              <a:t>Title</a:t>
            </a:r>
            <a:endParaRPr lang="en-GB" dirty="0"/>
          </a:p>
        </p:txBody>
      </p:sp>
      <p:sp>
        <p:nvSpPr>
          <p:cNvPr id="9" name="Text Placeholder 7"/>
          <p:cNvSpPr>
            <a:spLocks noGrp="1"/>
          </p:cNvSpPr>
          <p:nvPr>
            <p:ph type="body" sz="quarter" idx="13" hasCustomPrompt="1"/>
          </p:nvPr>
        </p:nvSpPr>
        <p:spPr>
          <a:xfrm>
            <a:off x="576000" y="781882"/>
            <a:ext cx="9783851" cy="303340"/>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10" name="Text Placeholder 7"/>
          <p:cNvSpPr>
            <a:spLocks noGrp="1"/>
          </p:cNvSpPr>
          <p:nvPr>
            <p:ph type="body" sz="quarter" idx="14" hasCustomPrompt="1"/>
          </p:nvPr>
        </p:nvSpPr>
        <p:spPr>
          <a:xfrm>
            <a:off x="576000" y="1094920"/>
            <a:ext cx="9783851" cy="331946"/>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13" name="TextBox 12">
            <a:extLst>
              <a:ext uri="{FF2B5EF4-FFF2-40B4-BE49-F238E27FC236}">
                <a16:creationId xmlns:a16="http://schemas.microsoft.com/office/drawing/2014/main" id="{A9F24F1F-606A-1E4F-9BC2-0948035B8EEA}"/>
              </a:ext>
            </a:extLst>
          </p:cNvPr>
          <p:cNvSpPr txBox="1"/>
          <p:nvPr userDrawn="1"/>
        </p:nvSpPr>
        <p:spPr>
          <a:xfrm>
            <a:off x="482712" y="6389493"/>
            <a:ext cx="11069208" cy="230832"/>
          </a:xfrm>
          <a:prstGeom prst="rect">
            <a:avLst/>
          </a:prstGeom>
          <a:noFill/>
        </p:spPr>
        <p:txBody>
          <a:bodyPr wrap="square" rtlCol="0">
            <a:spAutoFit/>
          </a:bodyPr>
          <a:lstStyle/>
          <a:p>
            <a:pPr algn="r"/>
            <a:r>
              <a:rPr lang="en-US" sz="900" b="0" dirty="0">
                <a:solidFill>
                  <a:schemeClr val="bg1">
                    <a:lumMod val="50000"/>
                  </a:schemeClr>
                </a:solidFill>
              </a:rPr>
              <a:t>﻿</a:t>
            </a:r>
            <a:r>
              <a:rPr lang="en-US" sz="900" b="0" dirty="0">
                <a:solidFill>
                  <a:schemeClr val="tx1">
                    <a:lumMod val="60000"/>
                    <a:lumOff val="40000"/>
                  </a:schemeClr>
                </a:solidFill>
              </a:rPr>
              <a:t>Source</a:t>
            </a:r>
            <a:r>
              <a:rPr lang="en-US" sz="900" b="0" dirty="0">
                <a:solidFill>
                  <a:schemeClr val="bg1">
                    <a:lumMod val="50000"/>
                  </a:schemeClr>
                </a:solidFill>
              </a:rPr>
              <a:t>: STR. 2021 © CoStar Realty Information, Inc.</a:t>
            </a:r>
          </a:p>
        </p:txBody>
      </p:sp>
      <p:pic>
        <p:nvPicPr>
          <p:cNvPr id="15" name="Picture 14">
            <a:extLst>
              <a:ext uri="{FF2B5EF4-FFF2-40B4-BE49-F238E27FC236}">
                <a16:creationId xmlns:a16="http://schemas.microsoft.com/office/drawing/2014/main" id="{25153B3D-D44C-6640-A1E5-4C2E7B65F2B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11078" y="299377"/>
            <a:ext cx="973700" cy="973700"/>
          </a:xfrm>
          <a:prstGeom prst="rect">
            <a:avLst/>
          </a:prstGeom>
        </p:spPr>
      </p:pic>
      <p:sp>
        <p:nvSpPr>
          <p:cNvPr id="4" name="Slide Number Placeholder 3">
            <a:extLst>
              <a:ext uri="{FF2B5EF4-FFF2-40B4-BE49-F238E27FC236}">
                <a16:creationId xmlns:a16="http://schemas.microsoft.com/office/drawing/2014/main" id="{3E6B2766-6131-B842-9B18-045578CC30EF}"/>
              </a:ext>
            </a:extLst>
          </p:cNvPr>
          <p:cNvSpPr>
            <a:spLocks noGrp="1"/>
          </p:cNvSpPr>
          <p:nvPr>
            <p:ph type="sldNum" sz="quarter" idx="15"/>
          </p:nvPr>
        </p:nvSpPr>
        <p:spPr>
          <a:xfrm>
            <a:off x="11345601" y="6412376"/>
            <a:ext cx="473598" cy="185724"/>
          </a:xfrm>
          <a:prstGeom prst="rect">
            <a:avLst/>
          </a:prstGeom>
        </p:spPr>
        <p:txBody>
          <a:bodyPr/>
          <a:lstStyle>
            <a:lvl1pPr>
              <a:defRPr>
                <a:solidFill>
                  <a:schemeClr val="tx1">
                    <a:lumMod val="60000"/>
                    <a:lumOff val="40000"/>
                  </a:schemeClr>
                </a:solidFill>
              </a:defRPr>
            </a:lvl1pPr>
          </a:lstStyle>
          <a:p>
            <a:fld id="{32413461-4BB7-634E-A64C-F44C59018A3C}" type="slidenum">
              <a:rPr lang="en-US" smtClean="0"/>
              <a:pPr/>
              <a:t>‹#›</a:t>
            </a:fld>
            <a:endParaRPr lang="en-US" dirty="0"/>
          </a:p>
        </p:txBody>
      </p:sp>
    </p:spTree>
    <p:extLst>
      <p:ext uri="{BB962C8B-B14F-4D97-AF65-F5344CB8AC3E}">
        <p14:creationId xmlns:p14="http://schemas.microsoft.com/office/powerpoint/2010/main" val="1314351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_only">
    <p:bg>
      <p:bgPr>
        <a:solidFill>
          <a:schemeClr val="bg1"/>
        </a:soli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576001" y="432002"/>
            <a:ext cx="9783850" cy="345972"/>
          </a:xfrm>
          <a:prstGeom prst="rect">
            <a:avLst/>
          </a:prstGeom>
        </p:spPr>
        <p:txBody>
          <a:bodyPr>
            <a:noAutofit/>
          </a:bodyPr>
          <a:lstStyle>
            <a:lvl1pPr algn="l">
              <a:lnSpc>
                <a:spcPts val="2667"/>
              </a:lnSpc>
              <a:defRPr sz="2800" b="1">
                <a:solidFill>
                  <a:schemeClr val="tx1"/>
                </a:solidFill>
                <a:latin typeface="+mn-lt"/>
                <a:cs typeface="Arial" pitchFamily="34" charset="0"/>
              </a:defRPr>
            </a:lvl1pPr>
          </a:lstStyle>
          <a:p>
            <a:r>
              <a:rPr lang="en-US" dirty="0"/>
              <a:t>Title</a:t>
            </a:r>
            <a:endParaRPr lang="en-GB" dirty="0"/>
          </a:p>
        </p:txBody>
      </p:sp>
      <p:sp>
        <p:nvSpPr>
          <p:cNvPr id="9" name="Text Placeholder 7"/>
          <p:cNvSpPr>
            <a:spLocks noGrp="1"/>
          </p:cNvSpPr>
          <p:nvPr>
            <p:ph type="body" sz="quarter" idx="13" hasCustomPrompt="1"/>
          </p:nvPr>
        </p:nvSpPr>
        <p:spPr>
          <a:xfrm>
            <a:off x="576000" y="781882"/>
            <a:ext cx="9783851" cy="303340"/>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10" name="Text Placeholder 7"/>
          <p:cNvSpPr>
            <a:spLocks noGrp="1"/>
          </p:cNvSpPr>
          <p:nvPr>
            <p:ph type="body" sz="quarter" idx="14" hasCustomPrompt="1"/>
          </p:nvPr>
        </p:nvSpPr>
        <p:spPr>
          <a:xfrm>
            <a:off x="576000" y="1094920"/>
            <a:ext cx="9783851" cy="331946"/>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6" name="Picture Placeholder 7">
            <a:extLst>
              <a:ext uri="{FF2B5EF4-FFF2-40B4-BE49-F238E27FC236}">
                <a16:creationId xmlns:a16="http://schemas.microsoft.com/office/drawing/2014/main" id="{98185818-FDBA-EE4A-A3D4-9A51E82061B0}"/>
              </a:ext>
            </a:extLst>
          </p:cNvPr>
          <p:cNvSpPr>
            <a:spLocks noGrp="1"/>
          </p:cNvSpPr>
          <p:nvPr>
            <p:ph type="pic" sz="quarter" idx="66"/>
          </p:nvPr>
        </p:nvSpPr>
        <p:spPr>
          <a:xfrm>
            <a:off x="4861456" y="2035098"/>
            <a:ext cx="2498523" cy="2497873"/>
          </a:xfrm>
          <a:prstGeom prst="ellipse">
            <a:avLst/>
          </a:prstGeom>
          <a:solidFill>
            <a:schemeClr val="bg1">
              <a:lumMod val="95000"/>
            </a:schemeClr>
          </a:solidFill>
          <a:effectLst/>
        </p:spPr>
        <p:txBody>
          <a:bodyPr wrap="square">
            <a:noAutofit/>
          </a:bodyPr>
          <a:lstStyle>
            <a:lvl1pPr marL="0" indent="0">
              <a:buNone/>
              <a:defRPr sz="1301" b="1" i="0">
                <a:ln>
                  <a:noFill/>
                </a:ln>
                <a:solidFill>
                  <a:schemeClr val="bg1">
                    <a:lumMod val="85000"/>
                  </a:schemeClr>
                </a:solidFill>
                <a:latin typeface="Open Sans Semibold" charset="0"/>
                <a:ea typeface="Open Sans Semibold" charset="0"/>
                <a:cs typeface="Open Sans Semibold" charset="0"/>
              </a:defRPr>
            </a:lvl1pPr>
          </a:lstStyle>
          <a:p>
            <a:r>
              <a:rPr lang="en-US" dirty="0"/>
              <a:t>Click icon to add picture</a:t>
            </a:r>
          </a:p>
        </p:txBody>
      </p:sp>
      <p:sp>
        <p:nvSpPr>
          <p:cNvPr id="7" name="Picture Placeholder 7">
            <a:extLst>
              <a:ext uri="{FF2B5EF4-FFF2-40B4-BE49-F238E27FC236}">
                <a16:creationId xmlns:a16="http://schemas.microsoft.com/office/drawing/2014/main" id="{84639073-5F72-9043-9030-121104229E04}"/>
              </a:ext>
            </a:extLst>
          </p:cNvPr>
          <p:cNvSpPr>
            <a:spLocks noGrp="1"/>
          </p:cNvSpPr>
          <p:nvPr>
            <p:ph type="pic" sz="quarter" idx="67"/>
          </p:nvPr>
        </p:nvSpPr>
        <p:spPr>
          <a:xfrm>
            <a:off x="7994021" y="2035098"/>
            <a:ext cx="2498523" cy="2497873"/>
          </a:xfrm>
          <a:prstGeom prst="ellipse">
            <a:avLst/>
          </a:prstGeom>
          <a:solidFill>
            <a:schemeClr val="bg1">
              <a:lumMod val="95000"/>
            </a:schemeClr>
          </a:solidFill>
          <a:effectLst/>
        </p:spPr>
        <p:txBody>
          <a:bodyPr wrap="square">
            <a:noAutofit/>
          </a:bodyPr>
          <a:lstStyle>
            <a:lvl1pPr marL="0" indent="0">
              <a:buNone/>
              <a:defRPr sz="1301" b="1" i="0">
                <a:ln>
                  <a:noFill/>
                </a:ln>
                <a:solidFill>
                  <a:schemeClr val="bg1">
                    <a:lumMod val="85000"/>
                  </a:schemeClr>
                </a:solidFill>
                <a:latin typeface="Open Sans Semibold" charset="0"/>
                <a:ea typeface="Open Sans Semibold" charset="0"/>
                <a:cs typeface="Open Sans Semibold" charset="0"/>
              </a:defRPr>
            </a:lvl1pPr>
          </a:lstStyle>
          <a:p>
            <a:r>
              <a:rPr lang="en-US" dirty="0"/>
              <a:t>Click icon to add picture</a:t>
            </a:r>
          </a:p>
        </p:txBody>
      </p:sp>
      <p:sp>
        <p:nvSpPr>
          <p:cNvPr id="11" name="Picture Placeholder 7">
            <a:extLst>
              <a:ext uri="{FF2B5EF4-FFF2-40B4-BE49-F238E27FC236}">
                <a16:creationId xmlns:a16="http://schemas.microsoft.com/office/drawing/2014/main" id="{247E79D3-3DA2-D24A-A405-10CED78996AA}"/>
              </a:ext>
            </a:extLst>
          </p:cNvPr>
          <p:cNvSpPr>
            <a:spLocks noGrp="1"/>
          </p:cNvSpPr>
          <p:nvPr>
            <p:ph type="pic" sz="quarter" idx="68"/>
          </p:nvPr>
        </p:nvSpPr>
        <p:spPr>
          <a:xfrm>
            <a:off x="1728890" y="2035098"/>
            <a:ext cx="2498523" cy="2497873"/>
          </a:xfrm>
          <a:prstGeom prst="ellipse">
            <a:avLst/>
          </a:prstGeom>
          <a:solidFill>
            <a:schemeClr val="bg1">
              <a:lumMod val="95000"/>
            </a:schemeClr>
          </a:solidFill>
          <a:effectLst/>
        </p:spPr>
        <p:txBody>
          <a:bodyPr wrap="square">
            <a:noAutofit/>
          </a:bodyPr>
          <a:lstStyle>
            <a:lvl1pPr marL="0" indent="0">
              <a:buNone/>
              <a:defRPr sz="1301" b="1" i="0">
                <a:ln>
                  <a:noFill/>
                </a:ln>
                <a:solidFill>
                  <a:schemeClr val="bg1">
                    <a:lumMod val="85000"/>
                  </a:schemeClr>
                </a:solidFill>
                <a:latin typeface="Open Sans Semibold" charset="0"/>
                <a:ea typeface="Open Sans Semibold" charset="0"/>
                <a:cs typeface="Open Sans Semibold" charset="0"/>
              </a:defRPr>
            </a:lvl1pPr>
          </a:lstStyle>
          <a:p>
            <a:r>
              <a:rPr lang="en-US" dirty="0"/>
              <a:t>Click icon to add picture</a:t>
            </a:r>
          </a:p>
        </p:txBody>
      </p:sp>
      <p:sp>
        <p:nvSpPr>
          <p:cNvPr id="14" name="TextBox 13">
            <a:extLst>
              <a:ext uri="{FF2B5EF4-FFF2-40B4-BE49-F238E27FC236}">
                <a16:creationId xmlns:a16="http://schemas.microsoft.com/office/drawing/2014/main" id="{77441868-353C-CB45-8E49-D7B5B27A6E6C}"/>
              </a:ext>
            </a:extLst>
          </p:cNvPr>
          <p:cNvSpPr txBox="1"/>
          <p:nvPr userDrawn="1"/>
        </p:nvSpPr>
        <p:spPr>
          <a:xfrm>
            <a:off x="482712" y="6389493"/>
            <a:ext cx="11069208" cy="230832"/>
          </a:xfrm>
          <a:prstGeom prst="rect">
            <a:avLst/>
          </a:prstGeom>
          <a:noFill/>
        </p:spPr>
        <p:txBody>
          <a:bodyPr wrap="square" rtlCol="0">
            <a:spAutoFit/>
          </a:bodyPr>
          <a:lstStyle/>
          <a:p>
            <a:pPr algn="r"/>
            <a:r>
              <a:rPr lang="en-US" sz="900" b="0" dirty="0">
                <a:solidFill>
                  <a:schemeClr val="bg1">
                    <a:lumMod val="50000"/>
                  </a:schemeClr>
                </a:solidFill>
              </a:rPr>
              <a:t>﻿</a:t>
            </a:r>
            <a:r>
              <a:rPr lang="en-US" sz="900" b="0" dirty="0">
                <a:solidFill>
                  <a:schemeClr val="tx1">
                    <a:lumMod val="60000"/>
                    <a:lumOff val="40000"/>
                  </a:schemeClr>
                </a:solidFill>
              </a:rPr>
              <a:t>Source</a:t>
            </a:r>
            <a:r>
              <a:rPr lang="en-US" sz="900" b="0" dirty="0">
                <a:solidFill>
                  <a:schemeClr val="bg1">
                    <a:lumMod val="50000"/>
                  </a:schemeClr>
                </a:solidFill>
              </a:rPr>
              <a:t>: STR. 2021 © CoStar Realty Information, Inc.</a:t>
            </a:r>
          </a:p>
        </p:txBody>
      </p:sp>
      <p:pic>
        <p:nvPicPr>
          <p:cNvPr id="18" name="Picture 17">
            <a:extLst>
              <a:ext uri="{FF2B5EF4-FFF2-40B4-BE49-F238E27FC236}">
                <a16:creationId xmlns:a16="http://schemas.microsoft.com/office/drawing/2014/main" id="{CC0C6598-DB9C-9F4A-863F-CA970BFF822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11078" y="299377"/>
            <a:ext cx="973700" cy="973700"/>
          </a:xfrm>
          <a:prstGeom prst="rect">
            <a:avLst/>
          </a:prstGeom>
        </p:spPr>
      </p:pic>
      <p:sp>
        <p:nvSpPr>
          <p:cNvPr id="2" name="Slide Number Placeholder 1">
            <a:extLst>
              <a:ext uri="{FF2B5EF4-FFF2-40B4-BE49-F238E27FC236}">
                <a16:creationId xmlns:a16="http://schemas.microsoft.com/office/drawing/2014/main" id="{C766711E-F640-9D44-B0CB-2FE48669FC31}"/>
              </a:ext>
            </a:extLst>
          </p:cNvPr>
          <p:cNvSpPr>
            <a:spLocks noGrp="1"/>
          </p:cNvSpPr>
          <p:nvPr>
            <p:ph type="sldNum" sz="quarter" idx="69"/>
          </p:nvPr>
        </p:nvSpPr>
        <p:spPr>
          <a:xfrm>
            <a:off x="11345601" y="6412376"/>
            <a:ext cx="473598" cy="185724"/>
          </a:xfrm>
          <a:prstGeom prst="rect">
            <a:avLst/>
          </a:prstGeom>
        </p:spPr>
        <p:txBody>
          <a:bodyPr/>
          <a:lstStyle>
            <a:lvl1pPr>
              <a:defRPr>
                <a:solidFill>
                  <a:schemeClr val="tx1">
                    <a:lumMod val="60000"/>
                    <a:lumOff val="40000"/>
                  </a:schemeClr>
                </a:solidFill>
              </a:defRPr>
            </a:lvl1pPr>
          </a:lstStyle>
          <a:p>
            <a:fld id="{32413461-4BB7-634E-A64C-F44C59018A3C}" type="slidenum">
              <a:rPr lang="en-US" smtClean="0"/>
              <a:pPr/>
              <a:t>‹#›</a:t>
            </a:fld>
            <a:endParaRPr lang="en-US" dirty="0"/>
          </a:p>
        </p:txBody>
      </p:sp>
    </p:spTree>
    <p:extLst>
      <p:ext uri="{BB962C8B-B14F-4D97-AF65-F5344CB8AC3E}">
        <p14:creationId xmlns:p14="http://schemas.microsoft.com/office/powerpoint/2010/main" val="2250182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_only">
    <p:bg>
      <p:bgPr>
        <a:solidFill>
          <a:schemeClr val="bg1"/>
        </a:soli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576001" y="432002"/>
            <a:ext cx="9783850" cy="345972"/>
          </a:xfrm>
          <a:prstGeom prst="rect">
            <a:avLst/>
          </a:prstGeom>
        </p:spPr>
        <p:txBody>
          <a:bodyPr>
            <a:noAutofit/>
          </a:bodyPr>
          <a:lstStyle>
            <a:lvl1pPr algn="l">
              <a:lnSpc>
                <a:spcPts val="2667"/>
              </a:lnSpc>
              <a:defRPr sz="2800" b="1">
                <a:solidFill>
                  <a:schemeClr val="tx1"/>
                </a:solidFill>
                <a:latin typeface="+mn-lt"/>
                <a:cs typeface="Arial" pitchFamily="34" charset="0"/>
              </a:defRPr>
            </a:lvl1pPr>
          </a:lstStyle>
          <a:p>
            <a:r>
              <a:rPr lang="en-US" dirty="0"/>
              <a:t>Title</a:t>
            </a:r>
            <a:endParaRPr lang="en-GB" dirty="0"/>
          </a:p>
        </p:txBody>
      </p:sp>
      <p:sp>
        <p:nvSpPr>
          <p:cNvPr id="9" name="Text Placeholder 7"/>
          <p:cNvSpPr>
            <a:spLocks noGrp="1"/>
          </p:cNvSpPr>
          <p:nvPr>
            <p:ph type="body" sz="quarter" idx="13" hasCustomPrompt="1"/>
          </p:nvPr>
        </p:nvSpPr>
        <p:spPr>
          <a:xfrm>
            <a:off x="576000" y="781882"/>
            <a:ext cx="9783851" cy="303340"/>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10" name="Text Placeholder 7"/>
          <p:cNvSpPr>
            <a:spLocks noGrp="1"/>
          </p:cNvSpPr>
          <p:nvPr>
            <p:ph type="body" sz="quarter" idx="14" hasCustomPrompt="1"/>
          </p:nvPr>
        </p:nvSpPr>
        <p:spPr>
          <a:xfrm>
            <a:off x="576000" y="1094920"/>
            <a:ext cx="9783851" cy="331946"/>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6" name="Picture Placeholder 7">
            <a:extLst>
              <a:ext uri="{FF2B5EF4-FFF2-40B4-BE49-F238E27FC236}">
                <a16:creationId xmlns:a16="http://schemas.microsoft.com/office/drawing/2014/main" id="{98185818-FDBA-EE4A-A3D4-9A51E82061B0}"/>
              </a:ext>
            </a:extLst>
          </p:cNvPr>
          <p:cNvSpPr>
            <a:spLocks noGrp="1"/>
          </p:cNvSpPr>
          <p:nvPr>
            <p:ph type="pic" sz="quarter" idx="66"/>
          </p:nvPr>
        </p:nvSpPr>
        <p:spPr>
          <a:xfrm>
            <a:off x="3502523" y="2035098"/>
            <a:ext cx="2054390" cy="2053855"/>
          </a:xfrm>
          <a:prstGeom prst="ellipse">
            <a:avLst/>
          </a:prstGeom>
          <a:solidFill>
            <a:schemeClr val="bg1">
              <a:lumMod val="95000"/>
            </a:schemeClr>
          </a:solidFill>
          <a:effectLst/>
        </p:spPr>
        <p:txBody>
          <a:bodyPr wrap="square">
            <a:noAutofit/>
          </a:bodyPr>
          <a:lstStyle>
            <a:lvl1pPr marL="0" indent="0">
              <a:buNone/>
              <a:defRPr sz="1301" b="1" i="0">
                <a:ln>
                  <a:noFill/>
                </a:ln>
                <a:solidFill>
                  <a:schemeClr val="bg1">
                    <a:lumMod val="85000"/>
                  </a:schemeClr>
                </a:solidFill>
                <a:latin typeface="Open Sans Semibold" charset="0"/>
                <a:ea typeface="Open Sans Semibold" charset="0"/>
                <a:cs typeface="Open Sans Semibold" charset="0"/>
              </a:defRPr>
            </a:lvl1pPr>
          </a:lstStyle>
          <a:p>
            <a:r>
              <a:rPr lang="en-US" dirty="0"/>
              <a:t>Click icon to add picture</a:t>
            </a:r>
          </a:p>
        </p:txBody>
      </p:sp>
      <p:sp>
        <p:nvSpPr>
          <p:cNvPr id="7" name="Picture Placeholder 7">
            <a:extLst>
              <a:ext uri="{FF2B5EF4-FFF2-40B4-BE49-F238E27FC236}">
                <a16:creationId xmlns:a16="http://schemas.microsoft.com/office/drawing/2014/main" id="{84639073-5F72-9043-9030-121104229E04}"/>
              </a:ext>
            </a:extLst>
          </p:cNvPr>
          <p:cNvSpPr>
            <a:spLocks noGrp="1"/>
          </p:cNvSpPr>
          <p:nvPr>
            <p:ph type="pic" sz="quarter" idx="67"/>
          </p:nvPr>
        </p:nvSpPr>
        <p:spPr>
          <a:xfrm>
            <a:off x="6429045" y="2035098"/>
            <a:ext cx="2054390" cy="2053855"/>
          </a:xfrm>
          <a:prstGeom prst="ellipse">
            <a:avLst/>
          </a:prstGeom>
          <a:solidFill>
            <a:schemeClr val="bg1">
              <a:lumMod val="95000"/>
            </a:schemeClr>
          </a:solidFill>
          <a:effectLst/>
        </p:spPr>
        <p:txBody>
          <a:bodyPr wrap="square">
            <a:noAutofit/>
          </a:bodyPr>
          <a:lstStyle>
            <a:lvl1pPr marL="0" indent="0">
              <a:buNone/>
              <a:defRPr sz="1301" b="1" i="0">
                <a:ln>
                  <a:noFill/>
                </a:ln>
                <a:solidFill>
                  <a:schemeClr val="bg1">
                    <a:lumMod val="85000"/>
                  </a:schemeClr>
                </a:solidFill>
                <a:latin typeface="Open Sans Semibold" charset="0"/>
                <a:ea typeface="Open Sans Semibold" charset="0"/>
                <a:cs typeface="Open Sans Semibold" charset="0"/>
              </a:defRPr>
            </a:lvl1pPr>
          </a:lstStyle>
          <a:p>
            <a:r>
              <a:rPr lang="en-US" dirty="0"/>
              <a:t>Click icon to add picture</a:t>
            </a:r>
          </a:p>
        </p:txBody>
      </p:sp>
      <p:sp>
        <p:nvSpPr>
          <p:cNvPr id="11" name="Picture Placeholder 7">
            <a:extLst>
              <a:ext uri="{FF2B5EF4-FFF2-40B4-BE49-F238E27FC236}">
                <a16:creationId xmlns:a16="http://schemas.microsoft.com/office/drawing/2014/main" id="{247E79D3-3DA2-D24A-A405-10CED78996AA}"/>
              </a:ext>
            </a:extLst>
          </p:cNvPr>
          <p:cNvSpPr>
            <a:spLocks noGrp="1"/>
          </p:cNvSpPr>
          <p:nvPr>
            <p:ph type="pic" sz="quarter" idx="68"/>
          </p:nvPr>
        </p:nvSpPr>
        <p:spPr>
          <a:xfrm>
            <a:off x="576001" y="2035098"/>
            <a:ext cx="2054390" cy="2053855"/>
          </a:xfrm>
          <a:prstGeom prst="ellipse">
            <a:avLst/>
          </a:prstGeom>
          <a:solidFill>
            <a:schemeClr val="bg1">
              <a:lumMod val="95000"/>
            </a:schemeClr>
          </a:solidFill>
          <a:effectLst/>
        </p:spPr>
        <p:txBody>
          <a:bodyPr wrap="square">
            <a:noAutofit/>
          </a:bodyPr>
          <a:lstStyle>
            <a:lvl1pPr marL="0" indent="0">
              <a:buNone/>
              <a:defRPr sz="1301" b="1" i="0">
                <a:ln>
                  <a:noFill/>
                </a:ln>
                <a:solidFill>
                  <a:schemeClr val="bg1">
                    <a:lumMod val="85000"/>
                  </a:schemeClr>
                </a:solidFill>
                <a:latin typeface="Open Sans Semibold" charset="0"/>
                <a:ea typeface="Open Sans Semibold" charset="0"/>
                <a:cs typeface="Open Sans Semibold" charset="0"/>
              </a:defRPr>
            </a:lvl1pPr>
          </a:lstStyle>
          <a:p>
            <a:r>
              <a:rPr lang="en-US" dirty="0"/>
              <a:t>Click icon to add picture</a:t>
            </a:r>
          </a:p>
        </p:txBody>
      </p:sp>
      <p:sp>
        <p:nvSpPr>
          <p:cNvPr id="14" name="TextBox 13">
            <a:extLst>
              <a:ext uri="{FF2B5EF4-FFF2-40B4-BE49-F238E27FC236}">
                <a16:creationId xmlns:a16="http://schemas.microsoft.com/office/drawing/2014/main" id="{77441868-353C-CB45-8E49-D7B5B27A6E6C}"/>
              </a:ext>
            </a:extLst>
          </p:cNvPr>
          <p:cNvSpPr txBox="1"/>
          <p:nvPr userDrawn="1"/>
        </p:nvSpPr>
        <p:spPr>
          <a:xfrm>
            <a:off x="482712" y="6389493"/>
            <a:ext cx="11069208" cy="230832"/>
          </a:xfrm>
          <a:prstGeom prst="rect">
            <a:avLst/>
          </a:prstGeom>
          <a:noFill/>
        </p:spPr>
        <p:txBody>
          <a:bodyPr wrap="square" rtlCol="0">
            <a:spAutoFit/>
          </a:bodyPr>
          <a:lstStyle/>
          <a:p>
            <a:pPr algn="r"/>
            <a:r>
              <a:rPr lang="en-US" sz="900" b="0" dirty="0">
                <a:solidFill>
                  <a:schemeClr val="bg1">
                    <a:lumMod val="50000"/>
                  </a:schemeClr>
                </a:solidFill>
              </a:rPr>
              <a:t>﻿</a:t>
            </a:r>
            <a:r>
              <a:rPr lang="en-US" sz="900" b="0" dirty="0">
                <a:solidFill>
                  <a:schemeClr val="tx1">
                    <a:lumMod val="60000"/>
                    <a:lumOff val="40000"/>
                  </a:schemeClr>
                </a:solidFill>
              </a:rPr>
              <a:t>Source</a:t>
            </a:r>
            <a:r>
              <a:rPr lang="en-US" sz="900" b="0" dirty="0">
                <a:solidFill>
                  <a:schemeClr val="bg1">
                    <a:lumMod val="50000"/>
                  </a:schemeClr>
                </a:solidFill>
              </a:rPr>
              <a:t>: STR. 2021 © CoStar Realty Information, Inc.</a:t>
            </a:r>
          </a:p>
        </p:txBody>
      </p:sp>
      <p:pic>
        <p:nvPicPr>
          <p:cNvPr id="18" name="Picture 17">
            <a:extLst>
              <a:ext uri="{FF2B5EF4-FFF2-40B4-BE49-F238E27FC236}">
                <a16:creationId xmlns:a16="http://schemas.microsoft.com/office/drawing/2014/main" id="{CC0C6598-DB9C-9F4A-863F-CA970BFF822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11078" y="299377"/>
            <a:ext cx="973700" cy="973700"/>
          </a:xfrm>
          <a:prstGeom prst="rect">
            <a:avLst/>
          </a:prstGeom>
        </p:spPr>
      </p:pic>
      <p:sp>
        <p:nvSpPr>
          <p:cNvPr id="2" name="Slide Number Placeholder 1">
            <a:extLst>
              <a:ext uri="{FF2B5EF4-FFF2-40B4-BE49-F238E27FC236}">
                <a16:creationId xmlns:a16="http://schemas.microsoft.com/office/drawing/2014/main" id="{C766711E-F640-9D44-B0CB-2FE48669FC31}"/>
              </a:ext>
            </a:extLst>
          </p:cNvPr>
          <p:cNvSpPr>
            <a:spLocks noGrp="1"/>
          </p:cNvSpPr>
          <p:nvPr>
            <p:ph type="sldNum" sz="quarter" idx="69"/>
          </p:nvPr>
        </p:nvSpPr>
        <p:spPr>
          <a:xfrm>
            <a:off x="11345601" y="6412376"/>
            <a:ext cx="473598" cy="185724"/>
          </a:xfrm>
          <a:prstGeom prst="rect">
            <a:avLst/>
          </a:prstGeom>
        </p:spPr>
        <p:txBody>
          <a:bodyPr/>
          <a:lstStyle>
            <a:lvl1pPr>
              <a:defRPr>
                <a:solidFill>
                  <a:schemeClr val="tx1">
                    <a:lumMod val="60000"/>
                    <a:lumOff val="40000"/>
                  </a:schemeClr>
                </a:solidFill>
              </a:defRPr>
            </a:lvl1pPr>
          </a:lstStyle>
          <a:p>
            <a:fld id="{32413461-4BB7-634E-A64C-F44C59018A3C}" type="slidenum">
              <a:rPr lang="en-US" smtClean="0"/>
              <a:pPr/>
              <a:t>‹#›</a:t>
            </a:fld>
            <a:endParaRPr lang="en-US" dirty="0"/>
          </a:p>
        </p:txBody>
      </p:sp>
      <p:sp>
        <p:nvSpPr>
          <p:cNvPr id="23" name="Picture Placeholder 7">
            <a:extLst>
              <a:ext uri="{FF2B5EF4-FFF2-40B4-BE49-F238E27FC236}">
                <a16:creationId xmlns:a16="http://schemas.microsoft.com/office/drawing/2014/main" id="{2AAE0185-BF6F-A841-B31D-E4C3A643EC97}"/>
              </a:ext>
            </a:extLst>
          </p:cNvPr>
          <p:cNvSpPr>
            <a:spLocks noGrp="1"/>
          </p:cNvSpPr>
          <p:nvPr>
            <p:ph type="pic" sz="quarter" idx="70"/>
          </p:nvPr>
        </p:nvSpPr>
        <p:spPr>
          <a:xfrm>
            <a:off x="9355567" y="2035097"/>
            <a:ext cx="2054390" cy="2053855"/>
          </a:xfrm>
          <a:prstGeom prst="ellipse">
            <a:avLst/>
          </a:prstGeom>
          <a:solidFill>
            <a:schemeClr val="bg1">
              <a:lumMod val="95000"/>
            </a:schemeClr>
          </a:solidFill>
          <a:effectLst/>
        </p:spPr>
        <p:txBody>
          <a:bodyPr wrap="square">
            <a:noAutofit/>
          </a:bodyPr>
          <a:lstStyle>
            <a:lvl1pPr marL="0" indent="0">
              <a:buNone/>
              <a:defRPr sz="1301" b="1" i="0">
                <a:ln>
                  <a:noFill/>
                </a:ln>
                <a:solidFill>
                  <a:schemeClr val="bg1">
                    <a:lumMod val="85000"/>
                  </a:schemeClr>
                </a:solidFill>
                <a:latin typeface="Open Sans Semibold" charset="0"/>
                <a:ea typeface="Open Sans Semibold" charset="0"/>
                <a:cs typeface="Open Sans Semibold" charset="0"/>
              </a:defRPr>
            </a:lvl1pPr>
          </a:lstStyle>
          <a:p>
            <a:r>
              <a:rPr lang="en-US" dirty="0"/>
              <a:t>Click icon to add picture</a:t>
            </a:r>
          </a:p>
        </p:txBody>
      </p:sp>
    </p:spTree>
    <p:extLst>
      <p:ext uri="{BB962C8B-B14F-4D97-AF65-F5344CB8AC3E}">
        <p14:creationId xmlns:p14="http://schemas.microsoft.com/office/powerpoint/2010/main" val="371864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fault Slid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CF139DB-28A0-F44F-8966-C263507C74E3}"/>
              </a:ext>
            </a:extLst>
          </p:cNvPr>
          <p:cNvSpPr txBox="1"/>
          <p:nvPr userDrawn="1"/>
        </p:nvSpPr>
        <p:spPr>
          <a:xfrm>
            <a:off x="482712" y="6389493"/>
            <a:ext cx="11069208" cy="230832"/>
          </a:xfrm>
          <a:prstGeom prst="rect">
            <a:avLst/>
          </a:prstGeom>
          <a:noFill/>
        </p:spPr>
        <p:txBody>
          <a:bodyPr wrap="square" rtlCol="0">
            <a:spAutoFit/>
          </a:bodyPr>
          <a:lstStyle/>
          <a:p>
            <a:pPr algn="r"/>
            <a:r>
              <a:rPr lang="en-US" sz="900" b="0" dirty="0">
                <a:solidFill>
                  <a:schemeClr val="bg1">
                    <a:lumMod val="50000"/>
                  </a:schemeClr>
                </a:solidFill>
              </a:rPr>
              <a:t>﻿</a:t>
            </a:r>
            <a:r>
              <a:rPr lang="en-US" sz="900" b="0" dirty="0">
                <a:solidFill>
                  <a:schemeClr val="tx1">
                    <a:lumMod val="60000"/>
                    <a:lumOff val="40000"/>
                  </a:schemeClr>
                </a:solidFill>
              </a:rPr>
              <a:t>Source</a:t>
            </a:r>
            <a:r>
              <a:rPr lang="en-US" sz="900" b="0" dirty="0">
                <a:solidFill>
                  <a:schemeClr val="bg1">
                    <a:lumMod val="50000"/>
                  </a:schemeClr>
                </a:solidFill>
              </a:rPr>
              <a:t>: STR. 2021 © CoStar Realty Information, Inc.</a:t>
            </a:r>
          </a:p>
        </p:txBody>
      </p:sp>
      <p:sp>
        <p:nvSpPr>
          <p:cNvPr id="3" name="Slide Number Placeholder 1">
            <a:extLst>
              <a:ext uri="{FF2B5EF4-FFF2-40B4-BE49-F238E27FC236}">
                <a16:creationId xmlns:a16="http://schemas.microsoft.com/office/drawing/2014/main" id="{2B675A70-9CB2-45D2-8537-33B0C3FD493E}"/>
              </a:ext>
            </a:extLst>
          </p:cNvPr>
          <p:cNvSpPr>
            <a:spLocks noGrp="1"/>
          </p:cNvSpPr>
          <p:nvPr>
            <p:ph type="sldNum" sz="quarter" idx="69"/>
          </p:nvPr>
        </p:nvSpPr>
        <p:spPr>
          <a:xfrm>
            <a:off x="11345601" y="6412376"/>
            <a:ext cx="473598" cy="185724"/>
          </a:xfrm>
          <a:prstGeom prst="rect">
            <a:avLst/>
          </a:prstGeom>
        </p:spPr>
        <p:txBody>
          <a:bodyPr/>
          <a:lstStyle>
            <a:lvl1pPr>
              <a:defRPr>
                <a:solidFill>
                  <a:schemeClr val="tx1">
                    <a:lumMod val="60000"/>
                    <a:lumOff val="40000"/>
                  </a:schemeClr>
                </a:solidFill>
              </a:defRPr>
            </a:lvl1pPr>
          </a:lstStyle>
          <a:p>
            <a:fld id="{32413461-4BB7-634E-A64C-F44C59018A3C}" type="slidenum">
              <a:rPr lang="en-US" smtClean="0"/>
              <a:pPr/>
              <a:t>‹#›</a:t>
            </a:fld>
            <a:endParaRPr lang="en-US" dirty="0"/>
          </a:p>
        </p:txBody>
      </p:sp>
    </p:spTree>
    <p:extLst>
      <p:ext uri="{BB962C8B-B14F-4D97-AF65-F5344CB8AC3E}">
        <p14:creationId xmlns:p14="http://schemas.microsoft.com/office/powerpoint/2010/main" val="306784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8338495-07FA-8445-8F22-78753F0C8B8F}"/>
              </a:ext>
            </a:extLst>
          </p:cNvPr>
          <p:cNvSpPr/>
          <p:nvPr userDrawn="1"/>
        </p:nvSpPr>
        <p:spPr>
          <a:xfrm>
            <a:off x="0" y="1"/>
            <a:ext cx="12191999" cy="31015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940B2064-3104-2349-A2B2-373BE156001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89549" y="299850"/>
            <a:ext cx="956721" cy="956721"/>
          </a:xfrm>
          <a:prstGeom prst="rect">
            <a:avLst/>
          </a:prstGeom>
        </p:spPr>
      </p:pic>
      <p:sp>
        <p:nvSpPr>
          <p:cNvPr id="2" name="Title 1">
            <a:extLst>
              <a:ext uri="{FF2B5EF4-FFF2-40B4-BE49-F238E27FC236}">
                <a16:creationId xmlns:a16="http://schemas.microsoft.com/office/drawing/2014/main" id="{1CF3AB8E-FC5C-7742-8164-D631A3037743}"/>
              </a:ext>
            </a:extLst>
          </p:cNvPr>
          <p:cNvSpPr>
            <a:spLocks noGrp="1"/>
          </p:cNvSpPr>
          <p:nvPr>
            <p:ph type="title"/>
          </p:nvPr>
        </p:nvSpPr>
        <p:spPr>
          <a:xfrm>
            <a:off x="552849" y="434573"/>
            <a:ext cx="9783851" cy="345972"/>
          </a:xfrm>
        </p:spPr>
        <p:txBody>
          <a:bodyPr>
            <a:normAutofit/>
          </a:bodyPr>
          <a:lstStyle>
            <a:lvl1pPr>
              <a:defRPr sz="2800">
                <a:solidFill>
                  <a:schemeClr val="bg1"/>
                </a:solidFill>
              </a:defRPr>
            </a:lvl1pPr>
          </a:lstStyle>
          <a:p>
            <a:r>
              <a:rPr lang="en-US" dirty="0"/>
              <a:t>Click to edit Master title style</a:t>
            </a:r>
          </a:p>
        </p:txBody>
      </p:sp>
      <p:sp>
        <p:nvSpPr>
          <p:cNvPr id="4" name="Text Placeholder 7">
            <a:extLst>
              <a:ext uri="{FF2B5EF4-FFF2-40B4-BE49-F238E27FC236}">
                <a16:creationId xmlns:a16="http://schemas.microsoft.com/office/drawing/2014/main" id="{C2388CD7-7FC3-9641-AE41-B5FE4CCD73A6}"/>
              </a:ext>
            </a:extLst>
          </p:cNvPr>
          <p:cNvSpPr>
            <a:spLocks noGrp="1"/>
          </p:cNvSpPr>
          <p:nvPr>
            <p:ph type="body" sz="quarter" idx="13" hasCustomPrompt="1"/>
          </p:nvPr>
        </p:nvSpPr>
        <p:spPr>
          <a:xfrm>
            <a:off x="552849" y="784453"/>
            <a:ext cx="9783851" cy="303340"/>
          </a:xfrm>
          <a:prstGeom prst="rect">
            <a:avLst/>
          </a:prstGeom>
        </p:spPr>
        <p:txBody>
          <a:bodyPr>
            <a:noAutofit/>
          </a:bodyPr>
          <a:lstStyle>
            <a:lvl1pPr marL="0" indent="0" algn="l">
              <a:lnSpc>
                <a:spcPts val="2667"/>
              </a:lnSpc>
              <a:buNone/>
              <a:defRPr sz="2000">
                <a:solidFill>
                  <a:schemeClr val="bg1"/>
                </a:solidFill>
                <a:latin typeface="+mn-lt"/>
                <a:cs typeface="Arial" pitchFamily="34" charset="0"/>
              </a:defRPr>
            </a:lvl1pPr>
          </a:lstStyle>
          <a:p>
            <a:pPr lvl="0"/>
            <a:r>
              <a:rPr lang="en-GB" dirty="0"/>
              <a:t>Strapline</a:t>
            </a:r>
          </a:p>
        </p:txBody>
      </p:sp>
      <p:sp>
        <p:nvSpPr>
          <p:cNvPr id="13" name="Picture Placeholder 3">
            <a:extLst>
              <a:ext uri="{FF2B5EF4-FFF2-40B4-BE49-F238E27FC236}">
                <a16:creationId xmlns:a16="http://schemas.microsoft.com/office/drawing/2014/main" id="{9088E115-681D-DB44-81FB-7ADF6FD915EC}"/>
              </a:ext>
            </a:extLst>
          </p:cNvPr>
          <p:cNvSpPr>
            <a:spLocks noGrp="1"/>
          </p:cNvSpPr>
          <p:nvPr>
            <p:ph type="pic" sz="quarter" idx="15" hasCustomPrompt="1"/>
          </p:nvPr>
        </p:nvSpPr>
        <p:spPr>
          <a:xfrm>
            <a:off x="552849" y="1927581"/>
            <a:ext cx="2146546" cy="2145987"/>
          </a:xfrm>
          <a:prstGeom prst="ellipse">
            <a:avLst/>
          </a:prstGeom>
          <a:solidFill>
            <a:schemeClr val="bg1">
              <a:lumMod val="95000"/>
            </a:schemeClr>
          </a:solidFill>
          <a:ln>
            <a:noFill/>
          </a:ln>
        </p:spPr>
        <p:txBody>
          <a:bodyPr wrap="square" anchor="ctr">
            <a:noAutofit/>
          </a:bodyPr>
          <a:lstStyle>
            <a:lvl1pPr marL="0" indent="0" algn="ctr">
              <a:buNone/>
              <a:defRPr sz="1001"/>
            </a:lvl1pPr>
          </a:lstStyle>
          <a:p>
            <a:r>
              <a:rPr lang="en-US" dirty="0"/>
              <a:t>REPLACE IMAGE HERE</a:t>
            </a:r>
          </a:p>
        </p:txBody>
      </p:sp>
      <p:sp>
        <p:nvSpPr>
          <p:cNvPr id="14" name="Picture Placeholder 3">
            <a:extLst>
              <a:ext uri="{FF2B5EF4-FFF2-40B4-BE49-F238E27FC236}">
                <a16:creationId xmlns:a16="http://schemas.microsoft.com/office/drawing/2014/main" id="{2673410D-FFDF-584A-B354-5C97673A926F}"/>
              </a:ext>
            </a:extLst>
          </p:cNvPr>
          <p:cNvSpPr>
            <a:spLocks noGrp="1"/>
          </p:cNvSpPr>
          <p:nvPr>
            <p:ph type="pic" sz="quarter" idx="16" hasCustomPrompt="1"/>
          </p:nvPr>
        </p:nvSpPr>
        <p:spPr>
          <a:xfrm>
            <a:off x="3462890" y="1927581"/>
            <a:ext cx="2146546" cy="2145987"/>
          </a:xfrm>
          <a:prstGeom prst="ellipse">
            <a:avLst/>
          </a:prstGeom>
          <a:solidFill>
            <a:schemeClr val="bg1">
              <a:lumMod val="95000"/>
            </a:schemeClr>
          </a:solidFill>
          <a:ln>
            <a:noFill/>
          </a:ln>
        </p:spPr>
        <p:txBody>
          <a:bodyPr wrap="square" anchor="ctr">
            <a:noAutofit/>
          </a:bodyPr>
          <a:lstStyle>
            <a:lvl1pPr marL="0" indent="0" algn="ctr">
              <a:buNone/>
              <a:defRPr sz="1001"/>
            </a:lvl1pPr>
          </a:lstStyle>
          <a:p>
            <a:r>
              <a:rPr lang="en-US" dirty="0"/>
              <a:t>REPLACE IMAGE HERE</a:t>
            </a:r>
          </a:p>
        </p:txBody>
      </p:sp>
      <p:sp>
        <p:nvSpPr>
          <p:cNvPr id="15" name="Picture Placeholder 3">
            <a:extLst>
              <a:ext uri="{FF2B5EF4-FFF2-40B4-BE49-F238E27FC236}">
                <a16:creationId xmlns:a16="http://schemas.microsoft.com/office/drawing/2014/main" id="{F4EC6675-6AF9-8240-BA33-D1EE44BBF878}"/>
              </a:ext>
            </a:extLst>
          </p:cNvPr>
          <p:cNvSpPr>
            <a:spLocks noGrp="1"/>
          </p:cNvSpPr>
          <p:nvPr>
            <p:ph type="pic" sz="quarter" idx="17" hasCustomPrompt="1"/>
          </p:nvPr>
        </p:nvSpPr>
        <p:spPr>
          <a:xfrm>
            <a:off x="6372931" y="1927581"/>
            <a:ext cx="2146546" cy="2145987"/>
          </a:xfrm>
          <a:prstGeom prst="ellipse">
            <a:avLst/>
          </a:prstGeom>
          <a:solidFill>
            <a:schemeClr val="bg1">
              <a:lumMod val="95000"/>
            </a:schemeClr>
          </a:solidFill>
          <a:ln>
            <a:noFill/>
          </a:ln>
        </p:spPr>
        <p:txBody>
          <a:bodyPr wrap="square" anchor="ctr">
            <a:noAutofit/>
          </a:bodyPr>
          <a:lstStyle>
            <a:lvl1pPr marL="0" indent="0" algn="ctr">
              <a:buNone/>
              <a:defRPr sz="1001"/>
            </a:lvl1pPr>
          </a:lstStyle>
          <a:p>
            <a:r>
              <a:rPr lang="en-US" dirty="0"/>
              <a:t>REPLACE IMAGE HERE</a:t>
            </a:r>
          </a:p>
        </p:txBody>
      </p:sp>
      <p:sp>
        <p:nvSpPr>
          <p:cNvPr id="16" name="Picture Placeholder 3">
            <a:extLst>
              <a:ext uri="{FF2B5EF4-FFF2-40B4-BE49-F238E27FC236}">
                <a16:creationId xmlns:a16="http://schemas.microsoft.com/office/drawing/2014/main" id="{434627CB-543D-0741-BD6E-145C01FFAE2B}"/>
              </a:ext>
            </a:extLst>
          </p:cNvPr>
          <p:cNvSpPr>
            <a:spLocks noGrp="1"/>
          </p:cNvSpPr>
          <p:nvPr>
            <p:ph type="pic" sz="quarter" idx="18" hasCustomPrompt="1"/>
          </p:nvPr>
        </p:nvSpPr>
        <p:spPr>
          <a:xfrm>
            <a:off x="9282465" y="1927581"/>
            <a:ext cx="2146546" cy="2145987"/>
          </a:xfrm>
          <a:prstGeom prst="ellipse">
            <a:avLst/>
          </a:prstGeom>
          <a:solidFill>
            <a:schemeClr val="bg1">
              <a:lumMod val="95000"/>
            </a:schemeClr>
          </a:solidFill>
          <a:ln>
            <a:noFill/>
          </a:ln>
        </p:spPr>
        <p:txBody>
          <a:bodyPr wrap="square" anchor="ctr">
            <a:noAutofit/>
          </a:bodyPr>
          <a:lstStyle>
            <a:lvl1pPr marL="0" indent="0" algn="ctr">
              <a:buNone/>
              <a:defRPr sz="1001"/>
            </a:lvl1pPr>
          </a:lstStyle>
          <a:p>
            <a:r>
              <a:rPr lang="en-US" dirty="0"/>
              <a:t>REPLACE IMAGE HERE</a:t>
            </a:r>
          </a:p>
        </p:txBody>
      </p:sp>
      <p:sp>
        <p:nvSpPr>
          <p:cNvPr id="24" name="Text Placeholder 23">
            <a:extLst>
              <a:ext uri="{FF2B5EF4-FFF2-40B4-BE49-F238E27FC236}">
                <a16:creationId xmlns:a16="http://schemas.microsoft.com/office/drawing/2014/main" id="{64DD199E-9816-AF4A-AD19-D44663E90C4E}"/>
              </a:ext>
            </a:extLst>
          </p:cNvPr>
          <p:cNvSpPr>
            <a:spLocks noGrp="1"/>
          </p:cNvSpPr>
          <p:nvPr>
            <p:ph type="body" sz="quarter" idx="19" hasCustomPrompt="1"/>
          </p:nvPr>
        </p:nvSpPr>
        <p:spPr>
          <a:xfrm>
            <a:off x="552850" y="4272587"/>
            <a:ext cx="2001048" cy="696955"/>
          </a:xfrm>
          <a:prstGeom prst="rect">
            <a:avLst/>
          </a:prstGeom>
        </p:spPr>
        <p:txBody>
          <a:bodyPr/>
          <a:lstStyle>
            <a:lvl1pPr marL="0" indent="0">
              <a:buNone/>
              <a:defRPr sz="5400" b="1">
                <a:solidFill>
                  <a:schemeClr val="tx2"/>
                </a:solidFill>
              </a:defRPr>
            </a:lvl1pPr>
          </a:lstStyle>
          <a:p>
            <a:pPr lvl="0"/>
            <a:r>
              <a:rPr lang="en-US" dirty="0"/>
              <a:t>####</a:t>
            </a:r>
          </a:p>
        </p:txBody>
      </p:sp>
      <p:sp>
        <p:nvSpPr>
          <p:cNvPr id="27" name="Text Placeholder 26">
            <a:extLst>
              <a:ext uri="{FF2B5EF4-FFF2-40B4-BE49-F238E27FC236}">
                <a16:creationId xmlns:a16="http://schemas.microsoft.com/office/drawing/2014/main" id="{8C5309F6-4D23-A645-A80D-FAB73D80D8CB}"/>
              </a:ext>
            </a:extLst>
          </p:cNvPr>
          <p:cNvSpPr>
            <a:spLocks noGrp="1"/>
          </p:cNvSpPr>
          <p:nvPr>
            <p:ph type="body" sz="quarter" idx="20" hasCustomPrompt="1"/>
          </p:nvPr>
        </p:nvSpPr>
        <p:spPr>
          <a:xfrm>
            <a:off x="552849" y="4985837"/>
            <a:ext cx="2001837" cy="601587"/>
          </a:xfrm>
          <a:prstGeom prst="rect">
            <a:avLst/>
          </a:prstGeom>
        </p:spPr>
        <p:txBody>
          <a:bodyPr/>
          <a:lstStyle>
            <a:lvl1pPr marL="0" indent="0">
              <a:lnSpc>
                <a:spcPct val="100000"/>
              </a:lnSpc>
              <a:spcBef>
                <a:spcPts val="0"/>
              </a:spcBef>
              <a:buNone/>
              <a:defRPr sz="1800">
                <a:solidFill>
                  <a:schemeClr val="tx1"/>
                </a:solidFill>
              </a:defRPr>
            </a:lvl1pPr>
          </a:lstStyle>
          <a:p>
            <a:pPr lvl="0"/>
            <a:r>
              <a:rPr lang="en-US" dirty="0"/>
              <a:t>Text</a:t>
            </a:r>
          </a:p>
          <a:p>
            <a:pPr lvl="0"/>
            <a:r>
              <a:rPr lang="en-US" dirty="0"/>
              <a:t>Line 2</a:t>
            </a:r>
          </a:p>
        </p:txBody>
      </p:sp>
      <p:sp>
        <p:nvSpPr>
          <p:cNvPr id="31" name="Text Placeholder 23">
            <a:extLst>
              <a:ext uri="{FF2B5EF4-FFF2-40B4-BE49-F238E27FC236}">
                <a16:creationId xmlns:a16="http://schemas.microsoft.com/office/drawing/2014/main" id="{CD5CD75D-40B0-874C-AB96-1BD5EB52F023}"/>
              </a:ext>
            </a:extLst>
          </p:cNvPr>
          <p:cNvSpPr>
            <a:spLocks noGrp="1"/>
          </p:cNvSpPr>
          <p:nvPr>
            <p:ph type="body" sz="quarter" idx="21" hasCustomPrompt="1"/>
          </p:nvPr>
        </p:nvSpPr>
        <p:spPr>
          <a:xfrm>
            <a:off x="3462890" y="4272587"/>
            <a:ext cx="2001048" cy="696955"/>
          </a:xfrm>
          <a:prstGeom prst="rect">
            <a:avLst/>
          </a:prstGeom>
        </p:spPr>
        <p:txBody>
          <a:bodyPr/>
          <a:lstStyle>
            <a:lvl1pPr marL="0" indent="0">
              <a:buNone/>
              <a:defRPr sz="5400" b="1">
                <a:solidFill>
                  <a:schemeClr val="tx2"/>
                </a:solidFill>
              </a:defRPr>
            </a:lvl1pPr>
          </a:lstStyle>
          <a:p>
            <a:pPr lvl="0"/>
            <a:r>
              <a:rPr lang="en-US" dirty="0"/>
              <a:t>####</a:t>
            </a:r>
          </a:p>
        </p:txBody>
      </p:sp>
      <p:sp>
        <p:nvSpPr>
          <p:cNvPr id="32" name="Text Placeholder 26">
            <a:extLst>
              <a:ext uri="{FF2B5EF4-FFF2-40B4-BE49-F238E27FC236}">
                <a16:creationId xmlns:a16="http://schemas.microsoft.com/office/drawing/2014/main" id="{A0FF9BC7-BB1E-434E-A87A-57A7C60F1CD5}"/>
              </a:ext>
            </a:extLst>
          </p:cNvPr>
          <p:cNvSpPr>
            <a:spLocks noGrp="1"/>
          </p:cNvSpPr>
          <p:nvPr>
            <p:ph type="body" sz="quarter" idx="22" hasCustomPrompt="1"/>
          </p:nvPr>
        </p:nvSpPr>
        <p:spPr>
          <a:xfrm>
            <a:off x="3462889" y="4985837"/>
            <a:ext cx="2001837" cy="601587"/>
          </a:xfrm>
          <a:prstGeom prst="rect">
            <a:avLst/>
          </a:prstGeom>
        </p:spPr>
        <p:txBody>
          <a:bodyPr/>
          <a:lstStyle>
            <a:lvl1pPr marL="0" indent="0">
              <a:lnSpc>
                <a:spcPct val="100000"/>
              </a:lnSpc>
              <a:spcBef>
                <a:spcPts val="0"/>
              </a:spcBef>
              <a:buNone/>
              <a:defRPr sz="1800">
                <a:solidFill>
                  <a:schemeClr val="tx1"/>
                </a:solidFill>
              </a:defRPr>
            </a:lvl1pPr>
          </a:lstStyle>
          <a:p>
            <a:pPr lvl="0"/>
            <a:r>
              <a:rPr lang="en-US" dirty="0"/>
              <a:t>Text</a:t>
            </a:r>
          </a:p>
          <a:p>
            <a:pPr lvl="0"/>
            <a:r>
              <a:rPr lang="en-US" dirty="0"/>
              <a:t>Line 2</a:t>
            </a:r>
          </a:p>
        </p:txBody>
      </p:sp>
      <p:sp>
        <p:nvSpPr>
          <p:cNvPr id="34" name="Text Placeholder 23">
            <a:extLst>
              <a:ext uri="{FF2B5EF4-FFF2-40B4-BE49-F238E27FC236}">
                <a16:creationId xmlns:a16="http://schemas.microsoft.com/office/drawing/2014/main" id="{15AA2222-AFAF-3A45-AABA-EFD704259111}"/>
              </a:ext>
            </a:extLst>
          </p:cNvPr>
          <p:cNvSpPr>
            <a:spLocks noGrp="1"/>
          </p:cNvSpPr>
          <p:nvPr>
            <p:ph type="body" sz="quarter" idx="23" hasCustomPrompt="1"/>
          </p:nvPr>
        </p:nvSpPr>
        <p:spPr>
          <a:xfrm>
            <a:off x="6372930" y="4272587"/>
            <a:ext cx="2001048" cy="696955"/>
          </a:xfrm>
          <a:prstGeom prst="rect">
            <a:avLst/>
          </a:prstGeom>
        </p:spPr>
        <p:txBody>
          <a:bodyPr/>
          <a:lstStyle>
            <a:lvl1pPr marL="0" indent="0">
              <a:buNone/>
              <a:defRPr sz="5400" b="1">
                <a:solidFill>
                  <a:schemeClr val="tx2"/>
                </a:solidFill>
              </a:defRPr>
            </a:lvl1pPr>
          </a:lstStyle>
          <a:p>
            <a:pPr lvl="0"/>
            <a:r>
              <a:rPr lang="en-US" dirty="0"/>
              <a:t>####</a:t>
            </a:r>
          </a:p>
        </p:txBody>
      </p:sp>
      <p:sp>
        <p:nvSpPr>
          <p:cNvPr id="35" name="Text Placeholder 26">
            <a:extLst>
              <a:ext uri="{FF2B5EF4-FFF2-40B4-BE49-F238E27FC236}">
                <a16:creationId xmlns:a16="http://schemas.microsoft.com/office/drawing/2014/main" id="{965C5E4F-52E8-0045-8BB2-32D52E2D8B41}"/>
              </a:ext>
            </a:extLst>
          </p:cNvPr>
          <p:cNvSpPr>
            <a:spLocks noGrp="1"/>
          </p:cNvSpPr>
          <p:nvPr>
            <p:ph type="body" sz="quarter" idx="24" hasCustomPrompt="1"/>
          </p:nvPr>
        </p:nvSpPr>
        <p:spPr>
          <a:xfrm>
            <a:off x="6372929" y="4985837"/>
            <a:ext cx="2001837" cy="601587"/>
          </a:xfrm>
          <a:prstGeom prst="rect">
            <a:avLst/>
          </a:prstGeom>
        </p:spPr>
        <p:txBody>
          <a:bodyPr/>
          <a:lstStyle>
            <a:lvl1pPr marL="0" indent="0">
              <a:lnSpc>
                <a:spcPct val="100000"/>
              </a:lnSpc>
              <a:spcBef>
                <a:spcPts val="0"/>
              </a:spcBef>
              <a:buNone/>
              <a:defRPr sz="1800">
                <a:solidFill>
                  <a:schemeClr val="tx1"/>
                </a:solidFill>
              </a:defRPr>
            </a:lvl1pPr>
          </a:lstStyle>
          <a:p>
            <a:pPr lvl="0"/>
            <a:r>
              <a:rPr lang="en-US" dirty="0"/>
              <a:t>Text</a:t>
            </a:r>
          </a:p>
          <a:p>
            <a:pPr lvl="0"/>
            <a:r>
              <a:rPr lang="en-US" dirty="0"/>
              <a:t>Line 2</a:t>
            </a:r>
          </a:p>
        </p:txBody>
      </p:sp>
      <p:sp>
        <p:nvSpPr>
          <p:cNvPr id="36" name="Text Placeholder 23">
            <a:extLst>
              <a:ext uri="{FF2B5EF4-FFF2-40B4-BE49-F238E27FC236}">
                <a16:creationId xmlns:a16="http://schemas.microsoft.com/office/drawing/2014/main" id="{02B9747B-2176-D74F-948C-C2887675DCBE}"/>
              </a:ext>
            </a:extLst>
          </p:cNvPr>
          <p:cNvSpPr>
            <a:spLocks noGrp="1"/>
          </p:cNvSpPr>
          <p:nvPr>
            <p:ph type="body" sz="quarter" idx="25" hasCustomPrompt="1"/>
          </p:nvPr>
        </p:nvSpPr>
        <p:spPr>
          <a:xfrm>
            <a:off x="9282465" y="4272587"/>
            <a:ext cx="2001048" cy="696955"/>
          </a:xfrm>
          <a:prstGeom prst="rect">
            <a:avLst/>
          </a:prstGeom>
        </p:spPr>
        <p:txBody>
          <a:bodyPr/>
          <a:lstStyle>
            <a:lvl1pPr marL="0" indent="0">
              <a:buNone/>
              <a:defRPr sz="5400" b="1">
                <a:solidFill>
                  <a:schemeClr val="tx2"/>
                </a:solidFill>
              </a:defRPr>
            </a:lvl1pPr>
          </a:lstStyle>
          <a:p>
            <a:pPr lvl="0"/>
            <a:r>
              <a:rPr lang="en-US" dirty="0"/>
              <a:t>####</a:t>
            </a:r>
          </a:p>
        </p:txBody>
      </p:sp>
      <p:sp>
        <p:nvSpPr>
          <p:cNvPr id="37" name="Text Placeholder 26">
            <a:extLst>
              <a:ext uri="{FF2B5EF4-FFF2-40B4-BE49-F238E27FC236}">
                <a16:creationId xmlns:a16="http://schemas.microsoft.com/office/drawing/2014/main" id="{D7433BF4-D729-FC40-A520-B2DB3828ED8A}"/>
              </a:ext>
            </a:extLst>
          </p:cNvPr>
          <p:cNvSpPr>
            <a:spLocks noGrp="1"/>
          </p:cNvSpPr>
          <p:nvPr>
            <p:ph type="body" sz="quarter" idx="26" hasCustomPrompt="1"/>
          </p:nvPr>
        </p:nvSpPr>
        <p:spPr>
          <a:xfrm>
            <a:off x="9282464" y="4985837"/>
            <a:ext cx="2001837" cy="601587"/>
          </a:xfrm>
          <a:prstGeom prst="rect">
            <a:avLst/>
          </a:prstGeom>
        </p:spPr>
        <p:txBody>
          <a:bodyPr/>
          <a:lstStyle>
            <a:lvl1pPr marL="0" indent="0">
              <a:lnSpc>
                <a:spcPct val="100000"/>
              </a:lnSpc>
              <a:spcBef>
                <a:spcPts val="0"/>
              </a:spcBef>
              <a:buNone/>
              <a:defRPr sz="1800">
                <a:solidFill>
                  <a:schemeClr val="tx1"/>
                </a:solidFill>
              </a:defRPr>
            </a:lvl1pPr>
          </a:lstStyle>
          <a:p>
            <a:pPr lvl="0"/>
            <a:r>
              <a:rPr lang="en-US" dirty="0"/>
              <a:t>Text</a:t>
            </a:r>
          </a:p>
          <a:p>
            <a:pPr lvl="0"/>
            <a:r>
              <a:rPr lang="en-US" dirty="0"/>
              <a:t>Line 2</a:t>
            </a:r>
          </a:p>
        </p:txBody>
      </p:sp>
      <p:sp>
        <p:nvSpPr>
          <p:cNvPr id="20" name="TextBox 19">
            <a:extLst>
              <a:ext uri="{FF2B5EF4-FFF2-40B4-BE49-F238E27FC236}">
                <a16:creationId xmlns:a16="http://schemas.microsoft.com/office/drawing/2014/main" id="{318E8EC5-52A5-9748-A370-02B44F7EF154}"/>
              </a:ext>
            </a:extLst>
          </p:cNvPr>
          <p:cNvSpPr txBox="1"/>
          <p:nvPr userDrawn="1"/>
        </p:nvSpPr>
        <p:spPr>
          <a:xfrm>
            <a:off x="482712" y="6389493"/>
            <a:ext cx="11069208" cy="230832"/>
          </a:xfrm>
          <a:prstGeom prst="rect">
            <a:avLst/>
          </a:prstGeom>
          <a:noFill/>
        </p:spPr>
        <p:txBody>
          <a:bodyPr wrap="square" rtlCol="0">
            <a:spAutoFit/>
          </a:bodyPr>
          <a:lstStyle/>
          <a:p>
            <a:pPr algn="r"/>
            <a:r>
              <a:rPr lang="en-US" sz="900" b="0" dirty="0">
                <a:solidFill>
                  <a:schemeClr val="bg1">
                    <a:lumMod val="50000"/>
                  </a:schemeClr>
                </a:solidFill>
              </a:rPr>
              <a:t>﻿</a:t>
            </a:r>
            <a:r>
              <a:rPr lang="en-US" sz="900" b="0" dirty="0">
                <a:solidFill>
                  <a:schemeClr val="tx1">
                    <a:lumMod val="60000"/>
                    <a:lumOff val="40000"/>
                  </a:schemeClr>
                </a:solidFill>
              </a:rPr>
              <a:t>Source</a:t>
            </a:r>
            <a:r>
              <a:rPr lang="en-US" sz="900" b="0" dirty="0">
                <a:solidFill>
                  <a:schemeClr val="bg1">
                    <a:lumMod val="50000"/>
                  </a:schemeClr>
                </a:solidFill>
              </a:rPr>
              <a:t>: STR. 2021 © CoStar Realty Information, Inc.</a:t>
            </a:r>
          </a:p>
        </p:txBody>
      </p:sp>
      <p:sp>
        <p:nvSpPr>
          <p:cNvPr id="3" name="Slide Number Placeholder 2">
            <a:extLst>
              <a:ext uri="{FF2B5EF4-FFF2-40B4-BE49-F238E27FC236}">
                <a16:creationId xmlns:a16="http://schemas.microsoft.com/office/drawing/2014/main" id="{ADB2F48C-4DAD-314B-989E-69C0DABD8E18}"/>
              </a:ext>
            </a:extLst>
          </p:cNvPr>
          <p:cNvSpPr>
            <a:spLocks noGrp="1"/>
          </p:cNvSpPr>
          <p:nvPr>
            <p:ph type="sldNum" sz="quarter" idx="27"/>
          </p:nvPr>
        </p:nvSpPr>
        <p:spPr>
          <a:xfrm>
            <a:off x="11345601" y="6412376"/>
            <a:ext cx="473598" cy="185724"/>
          </a:xfrm>
          <a:prstGeom prst="rect">
            <a:avLst/>
          </a:prstGeom>
        </p:spPr>
        <p:txBody>
          <a:bodyPr/>
          <a:lstStyle>
            <a:lvl1pPr>
              <a:defRPr>
                <a:solidFill>
                  <a:schemeClr val="tx1">
                    <a:lumMod val="60000"/>
                    <a:lumOff val="40000"/>
                  </a:schemeClr>
                </a:solidFill>
              </a:defRPr>
            </a:lvl1pPr>
          </a:lstStyle>
          <a:p>
            <a:fld id="{32413461-4BB7-634E-A64C-F44C59018A3C}" type="slidenum">
              <a:rPr lang="en-US" smtClean="0"/>
              <a:pPr/>
              <a:t>‹#›</a:t>
            </a:fld>
            <a:endParaRPr lang="en-US" dirty="0"/>
          </a:p>
        </p:txBody>
      </p:sp>
    </p:spTree>
    <p:extLst>
      <p:ext uri="{BB962C8B-B14F-4D97-AF65-F5344CB8AC3E}">
        <p14:creationId xmlns:p14="http://schemas.microsoft.com/office/powerpoint/2010/main" val="1308378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 Option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11432" y="2558006"/>
            <a:ext cx="5197976" cy="1345070"/>
          </a:xfrm>
        </p:spPr>
        <p:txBody>
          <a:bodyPr>
            <a:normAutofit/>
          </a:bodyPr>
          <a:lstStyle>
            <a:lvl1pPr algn="l">
              <a:defRPr sz="4800">
                <a:solidFill>
                  <a:schemeClr val="tx1"/>
                </a:solidFill>
              </a:defRPr>
            </a:lvl1pPr>
          </a:lstStyle>
          <a:p>
            <a:r>
              <a:rPr lang="en-US" dirty="0"/>
              <a:t>Presentation Title</a:t>
            </a:r>
          </a:p>
        </p:txBody>
      </p:sp>
      <p:sp>
        <p:nvSpPr>
          <p:cNvPr id="3" name="Subtitle 2"/>
          <p:cNvSpPr>
            <a:spLocks noGrp="1"/>
          </p:cNvSpPr>
          <p:nvPr>
            <p:ph type="subTitle" idx="1" hasCustomPrompt="1"/>
          </p:nvPr>
        </p:nvSpPr>
        <p:spPr>
          <a:xfrm>
            <a:off x="6415151" y="3679279"/>
            <a:ext cx="5197975" cy="1121274"/>
          </a:xfrm>
        </p:spPr>
        <p:txBody>
          <a:bodyPr>
            <a:normAutofit/>
          </a:bodyPr>
          <a:lstStyle>
            <a:lvl1pPr marL="0" indent="0" algn="l">
              <a:lnSpc>
                <a:spcPct val="100000"/>
              </a:lnSpc>
              <a:buNone/>
              <a:defRPr sz="2800">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ub head</a:t>
            </a:r>
            <a:br>
              <a:rPr lang="en-US" dirty="0"/>
            </a:br>
            <a:r>
              <a:rPr lang="en-US" dirty="0"/>
              <a:t>Line 2 </a:t>
            </a:r>
          </a:p>
        </p:txBody>
      </p:sp>
      <p:sp>
        <p:nvSpPr>
          <p:cNvPr id="5" name="TextBox 4">
            <a:extLst>
              <a:ext uri="{FF2B5EF4-FFF2-40B4-BE49-F238E27FC236}">
                <a16:creationId xmlns:a16="http://schemas.microsoft.com/office/drawing/2014/main" id="{91B5EC7A-E198-9B40-B23F-3EC2A3223964}"/>
              </a:ext>
            </a:extLst>
          </p:cNvPr>
          <p:cNvSpPr txBox="1"/>
          <p:nvPr userDrawn="1"/>
        </p:nvSpPr>
        <p:spPr>
          <a:xfrm>
            <a:off x="6411433" y="5994746"/>
            <a:ext cx="5473345" cy="646331"/>
          </a:xfrm>
          <a:prstGeom prst="rect">
            <a:avLst/>
          </a:prstGeom>
          <a:noFill/>
        </p:spPr>
        <p:txBody>
          <a:bodyPr wrap="square" rtlCol="0">
            <a:spAutoFit/>
          </a:bodyPr>
          <a:lstStyle/>
          <a:p>
            <a:r>
              <a:rPr lang="en-US" sz="900" kern="1200" dirty="0">
                <a:solidFill>
                  <a:schemeClr val="tx1">
                    <a:lumMod val="60000"/>
                    <a:lumOff val="40000"/>
                  </a:schemeClr>
                </a:solidFill>
                <a:effectLst/>
                <a:latin typeface="+mn-lt"/>
                <a:ea typeface="+mn-ea"/>
                <a:cs typeface="+mn-cs"/>
              </a:rPr>
              <a:t>Source: 2022 STR, LLC / STR Global, Ltd. trading as "STR". © CoStar Realty Information, Inc.  Any reprint, use or republication of all or a part of this presentation without the prior written approval of STR is strictly prohibited.  </a:t>
            </a:r>
            <a:br>
              <a:rPr lang="en-US" sz="900" kern="1200" dirty="0">
                <a:solidFill>
                  <a:schemeClr val="tx1">
                    <a:lumMod val="60000"/>
                    <a:lumOff val="40000"/>
                  </a:schemeClr>
                </a:solidFill>
                <a:effectLst/>
                <a:latin typeface="+mn-lt"/>
                <a:ea typeface="+mn-ea"/>
                <a:cs typeface="+mn-cs"/>
              </a:rPr>
            </a:br>
            <a:r>
              <a:rPr lang="en-US" sz="900" kern="1200" dirty="0">
                <a:solidFill>
                  <a:schemeClr val="tx1">
                    <a:lumMod val="60000"/>
                    <a:lumOff val="40000"/>
                  </a:schemeClr>
                </a:solidFill>
                <a:effectLst/>
                <a:latin typeface="+mn-lt"/>
                <a:ea typeface="+mn-ea"/>
                <a:cs typeface="+mn-cs"/>
              </a:rPr>
              <a:t>Any such reproduction shall specifically credit STR as the source.  This presentation is based on data collected by STR.  The information in the presentation should not be construed as investment, tax, accounting or legal advice.</a:t>
            </a:r>
          </a:p>
        </p:txBody>
      </p:sp>
      <p:sp>
        <p:nvSpPr>
          <p:cNvPr id="13" name="Text Placeholder 12">
            <a:extLst>
              <a:ext uri="{FF2B5EF4-FFF2-40B4-BE49-F238E27FC236}">
                <a16:creationId xmlns:a16="http://schemas.microsoft.com/office/drawing/2014/main" id="{8D178927-5F27-1341-A788-4895FB7F64C6}"/>
              </a:ext>
            </a:extLst>
          </p:cNvPr>
          <p:cNvSpPr>
            <a:spLocks noGrp="1"/>
          </p:cNvSpPr>
          <p:nvPr>
            <p:ph type="body" sz="quarter" idx="12" hasCustomPrompt="1"/>
          </p:nvPr>
        </p:nvSpPr>
        <p:spPr>
          <a:xfrm>
            <a:off x="6425047" y="5241272"/>
            <a:ext cx="5184362" cy="371475"/>
          </a:xfrm>
        </p:spPr>
        <p:txBody>
          <a:bodyPr>
            <a:noAutofit/>
          </a:bodyPr>
          <a:lstStyle>
            <a:lvl1pPr marL="0" indent="0">
              <a:buNone/>
              <a:defRPr sz="2000" b="1">
                <a:solidFill>
                  <a:schemeClr val="tx1"/>
                </a:solidFill>
              </a:defRPr>
            </a:lvl1pPr>
          </a:lstStyle>
          <a:p>
            <a:pPr lvl="0"/>
            <a:r>
              <a:rPr lang="en-US" dirty="0"/>
              <a:t>Name  </a:t>
            </a:r>
            <a:r>
              <a:rPr lang="en-US" b="0" dirty="0"/>
              <a:t>|  Title</a:t>
            </a:r>
            <a:endParaRPr lang="en-US" dirty="0"/>
          </a:p>
        </p:txBody>
      </p:sp>
      <p:sp>
        <p:nvSpPr>
          <p:cNvPr id="8" name="Snip Single Corner Rectangle 7">
            <a:extLst>
              <a:ext uri="{FF2B5EF4-FFF2-40B4-BE49-F238E27FC236}">
                <a16:creationId xmlns:a16="http://schemas.microsoft.com/office/drawing/2014/main" id="{3A2EDAB2-0943-D144-8046-DA11FC3A0C60}"/>
              </a:ext>
            </a:extLst>
          </p:cNvPr>
          <p:cNvSpPr/>
          <p:nvPr userDrawn="1"/>
        </p:nvSpPr>
        <p:spPr>
          <a:xfrm rot="16200000">
            <a:off x="-250518" y="223283"/>
            <a:ext cx="6858004" cy="6411430"/>
          </a:xfrm>
          <a:custGeom>
            <a:avLst/>
            <a:gdLst>
              <a:gd name="connsiteX0" fmla="*/ 0 w 6858003"/>
              <a:gd name="connsiteY0" fmla="*/ 0 h 5259964"/>
              <a:gd name="connsiteX1" fmla="*/ 5981325 w 6858003"/>
              <a:gd name="connsiteY1" fmla="*/ 0 h 5259964"/>
              <a:gd name="connsiteX2" fmla="*/ 6858003 w 6858003"/>
              <a:gd name="connsiteY2" fmla="*/ 876678 h 5259964"/>
              <a:gd name="connsiteX3" fmla="*/ 6858003 w 6858003"/>
              <a:gd name="connsiteY3" fmla="*/ 5259964 h 5259964"/>
              <a:gd name="connsiteX4" fmla="*/ 0 w 6858003"/>
              <a:gd name="connsiteY4" fmla="*/ 5259964 h 5259964"/>
              <a:gd name="connsiteX5" fmla="*/ 0 w 6858003"/>
              <a:gd name="connsiteY5" fmla="*/ 0 h 5259964"/>
              <a:gd name="connsiteX0" fmla="*/ 0 w 6858004"/>
              <a:gd name="connsiteY0" fmla="*/ 0 h 6411430"/>
              <a:gd name="connsiteX1" fmla="*/ 5981326 w 6858004"/>
              <a:gd name="connsiteY1" fmla="*/ 1151466 h 6411430"/>
              <a:gd name="connsiteX2" fmla="*/ 6858004 w 6858004"/>
              <a:gd name="connsiteY2" fmla="*/ 2028144 h 6411430"/>
              <a:gd name="connsiteX3" fmla="*/ 6858004 w 6858004"/>
              <a:gd name="connsiteY3" fmla="*/ 6411430 h 6411430"/>
              <a:gd name="connsiteX4" fmla="*/ 1 w 6858004"/>
              <a:gd name="connsiteY4" fmla="*/ 6411430 h 6411430"/>
              <a:gd name="connsiteX5" fmla="*/ 0 w 6858004"/>
              <a:gd name="connsiteY5" fmla="*/ 0 h 6411430"/>
              <a:gd name="connsiteX0" fmla="*/ 0 w 6858004"/>
              <a:gd name="connsiteY0" fmla="*/ 0 h 6411430"/>
              <a:gd name="connsiteX1" fmla="*/ 1951193 w 6858004"/>
              <a:gd name="connsiteY1" fmla="*/ 152400 h 6411430"/>
              <a:gd name="connsiteX2" fmla="*/ 6858004 w 6858004"/>
              <a:gd name="connsiteY2" fmla="*/ 2028144 h 6411430"/>
              <a:gd name="connsiteX3" fmla="*/ 6858004 w 6858004"/>
              <a:gd name="connsiteY3" fmla="*/ 6411430 h 6411430"/>
              <a:gd name="connsiteX4" fmla="*/ 1 w 6858004"/>
              <a:gd name="connsiteY4" fmla="*/ 6411430 h 6411430"/>
              <a:gd name="connsiteX5" fmla="*/ 0 w 6858004"/>
              <a:gd name="connsiteY5" fmla="*/ 0 h 6411430"/>
              <a:gd name="connsiteX0" fmla="*/ 0 w 6858004"/>
              <a:gd name="connsiteY0" fmla="*/ 0 h 6411430"/>
              <a:gd name="connsiteX1" fmla="*/ 1189193 w 6858004"/>
              <a:gd name="connsiteY1" fmla="*/ 0 h 6411430"/>
              <a:gd name="connsiteX2" fmla="*/ 6858004 w 6858004"/>
              <a:gd name="connsiteY2" fmla="*/ 2028144 h 6411430"/>
              <a:gd name="connsiteX3" fmla="*/ 6858004 w 6858004"/>
              <a:gd name="connsiteY3" fmla="*/ 6411430 h 6411430"/>
              <a:gd name="connsiteX4" fmla="*/ 1 w 6858004"/>
              <a:gd name="connsiteY4" fmla="*/ 6411430 h 6411430"/>
              <a:gd name="connsiteX5" fmla="*/ 0 w 6858004"/>
              <a:gd name="connsiteY5" fmla="*/ 0 h 6411430"/>
              <a:gd name="connsiteX0" fmla="*/ 0 w 6858004"/>
              <a:gd name="connsiteY0" fmla="*/ 0 h 6411430"/>
              <a:gd name="connsiteX1" fmla="*/ 1189193 w 6858004"/>
              <a:gd name="connsiteY1" fmla="*/ 0 h 6411430"/>
              <a:gd name="connsiteX2" fmla="*/ 6858004 w 6858004"/>
              <a:gd name="connsiteY2" fmla="*/ 2028144 h 6411430"/>
              <a:gd name="connsiteX3" fmla="*/ 6858004 w 6858004"/>
              <a:gd name="connsiteY3" fmla="*/ 6411430 h 6411430"/>
              <a:gd name="connsiteX4" fmla="*/ 1 w 6858004"/>
              <a:gd name="connsiteY4" fmla="*/ 3956097 h 6411430"/>
              <a:gd name="connsiteX5" fmla="*/ 0 w 6858004"/>
              <a:gd name="connsiteY5" fmla="*/ 0 h 6411430"/>
              <a:gd name="connsiteX0" fmla="*/ 0 w 6858004"/>
              <a:gd name="connsiteY0" fmla="*/ 0 h 6411430"/>
              <a:gd name="connsiteX1" fmla="*/ 1189193 w 6858004"/>
              <a:gd name="connsiteY1" fmla="*/ 0 h 6411430"/>
              <a:gd name="connsiteX2" fmla="*/ 6858004 w 6858004"/>
              <a:gd name="connsiteY2" fmla="*/ 2028144 h 6411430"/>
              <a:gd name="connsiteX3" fmla="*/ 6858004 w 6858004"/>
              <a:gd name="connsiteY3" fmla="*/ 6411430 h 6411430"/>
              <a:gd name="connsiteX4" fmla="*/ 16935 w 6858004"/>
              <a:gd name="connsiteY4" fmla="*/ 3448097 h 6411430"/>
              <a:gd name="connsiteX5" fmla="*/ 0 w 6858004"/>
              <a:gd name="connsiteY5" fmla="*/ 0 h 6411430"/>
              <a:gd name="connsiteX0" fmla="*/ 0 w 6858004"/>
              <a:gd name="connsiteY0" fmla="*/ 0 h 6411430"/>
              <a:gd name="connsiteX1" fmla="*/ 1189193 w 6858004"/>
              <a:gd name="connsiteY1" fmla="*/ 0 h 6411430"/>
              <a:gd name="connsiteX2" fmla="*/ 6858004 w 6858004"/>
              <a:gd name="connsiteY2" fmla="*/ 2028144 h 6411430"/>
              <a:gd name="connsiteX3" fmla="*/ 6858004 w 6858004"/>
              <a:gd name="connsiteY3" fmla="*/ 6411430 h 6411430"/>
              <a:gd name="connsiteX4" fmla="*/ 2 w 6858004"/>
              <a:gd name="connsiteY4" fmla="*/ 3973030 h 6411430"/>
              <a:gd name="connsiteX5" fmla="*/ 0 w 6858004"/>
              <a:gd name="connsiteY5" fmla="*/ 0 h 6411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4" h="6411430">
                <a:moveTo>
                  <a:pt x="0" y="0"/>
                </a:moveTo>
                <a:lnTo>
                  <a:pt x="1189193" y="0"/>
                </a:lnTo>
                <a:lnTo>
                  <a:pt x="6858004" y="2028144"/>
                </a:lnTo>
                <a:lnTo>
                  <a:pt x="6858004" y="6411430"/>
                </a:lnTo>
                <a:lnTo>
                  <a:pt x="2" y="3973030"/>
                </a:lnTo>
                <a:cubicBezTo>
                  <a:pt x="2" y="1835887"/>
                  <a:pt x="0" y="2137143"/>
                  <a:pt x="0" y="0"/>
                </a:cubicBezTo>
                <a:close/>
              </a:path>
            </a:pathLst>
          </a:cu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ight Triangle 8">
            <a:extLst>
              <a:ext uri="{FF2B5EF4-FFF2-40B4-BE49-F238E27FC236}">
                <a16:creationId xmlns:a16="http://schemas.microsoft.com/office/drawing/2014/main" id="{678CC7F3-E630-4143-BA53-2A9E03A0716E}"/>
              </a:ext>
            </a:extLst>
          </p:cNvPr>
          <p:cNvSpPr/>
          <p:nvPr userDrawn="1"/>
        </p:nvSpPr>
        <p:spPr>
          <a:xfrm flipV="1">
            <a:off x="1" y="0"/>
            <a:ext cx="1574800" cy="4453467"/>
          </a:xfrm>
          <a:custGeom>
            <a:avLst/>
            <a:gdLst>
              <a:gd name="connsiteX0" fmla="*/ 0 w 1439333"/>
              <a:gd name="connsiteY0" fmla="*/ 4453467 h 4453467"/>
              <a:gd name="connsiteX1" fmla="*/ 0 w 1439333"/>
              <a:gd name="connsiteY1" fmla="*/ 0 h 4453467"/>
              <a:gd name="connsiteX2" fmla="*/ 1439333 w 1439333"/>
              <a:gd name="connsiteY2" fmla="*/ 4453467 h 4453467"/>
              <a:gd name="connsiteX3" fmla="*/ 0 w 1439333"/>
              <a:gd name="connsiteY3" fmla="*/ 4453467 h 4453467"/>
              <a:gd name="connsiteX0" fmla="*/ 0 w 1574800"/>
              <a:gd name="connsiteY0" fmla="*/ 4453467 h 4453467"/>
              <a:gd name="connsiteX1" fmla="*/ 0 w 1574800"/>
              <a:gd name="connsiteY1" fmla="*/ 0 h 4453467"/>
              <a:gd name="connsiteX2" fmla="*/ 1574800 w 1574800"/>
              <a:gd name="connsiteY2" fmla="*/ 4453467 h 4453467"/>
              <a:gd name="connsiteX3" fmla="*/ 0 w 1574800"/>
              <a:gd name="connsiteY3" fmla="*/ 4453467 h 4453467"/>
            </a:gdLst>
            <a:ahLst/>
            <a:cxnLst>
              <a:cxn ang="0">
                <a:pos x="connsiteX0" y="connsiteY0"/>
              </a:cxn>
              <a:cxn ang="0">
                <a:pos x="connsiteX1" y="connsiteY1"/>
              </a:cxn>
              <a:cxn ang="0">
                <a:pos x="connsiteX2" y="connsiteY2"/>
              </a:cxn>
              <a:cxn ang="0">
                <a:pos x="connsiteX3" y="connsiteY3"/>
              </a:cxn>
            </a:cxnLst>
            <a:rect l="l" t="t" r="r" b="b"/>
            <a:pathLst>
              <a:path w="1574800" h="4453467">
                <a:moveTo>
                  <a:pt x="0" y="4453467"/>
                </a:moveTo>
                <a:lnTo>
                  <a:pt x="0" y="0"/>
                </a:lnTo>
                <a:lnTo>
                  <a:pt x="1574800" y="4453467"/>
                </a:lnTo>
                <a:lnTo>
                  <a:pt x="0" y="4453467"/>
                </a:lnTo>
                <a:close/>
              </a:path>
            </a:pathLst>
          </a:cu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25B967B2-DACA-3A4B-BA71-736D2B2EA3D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96546" y="299377"/>
            <a:ext cx="1288232" cy="1288232"/>
          </a:xfrm>
          <a:prstGeom prst="rect">
            <a:avLst/>
          </a:prstGeom>
        </p:spPr>
      </p:pic>
    </p:spTree>
    <p:extLst>
      <p:ext uri="{BB962C8B-B14F-4D97-AF65-F5344CB8AC3E}">
        <p14:creationId xmlns:p14="http://schemas.microsoft.com/office/powerpoint/2010/main" val="34098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ity Data">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DB1EA23-B4BB-0247-B20B-E7E95A03787D}"/>
              </a:ext>
            </a:extLst>
          </p:cNvPr>
          <p:cNvSpPr>
            <a:spLocks noGrp="1"/>
          </p:cNvSpPr>
          <p:nvPr>
            <p:ph type="pic" sz="quarter" idx="10"/>
          </p:nvPr>
        </p:nvSpPr>
        <p:spPr>
          <a:xfrm>
            <a:off x="-49695" y="-9939"/>
            <a:ext cx="12299044" cy="6918212"/>
          </a:xfrm>
          <a:prstGeom prst="rect">
            <a:avLst/>
          </a:prstGeom>
          <a:solidFill>
            <a:schemeClr val="bg1"/>
          </a:solidFill>
        </p:spPr>
        <p:txBody>
          <a:bodyPr/>
          <a:lstStyle/>
          <a:p>
            <a:r>
              <a:rPr lang="en-US" dirty="0"/>
              <a:t>Click icon to add picture</a:t>
            </a:r>
          </a:p>
        </p:txBody>
      </p:sp>
      <p:sp>
        <p:nvSpPr>
          <p:cNvPr id="15" name="Gradient">
            <a:extLst>
              <a:ext uri="{FF2B5EF4-FFF2-40B4-BE49-F238E27FC236}">
                <a16:creationId xmlns:a16="http://schemas.microsoft.com/office/drawing/2014/main" id="{1C1EC318-497A-4344-97E4-249BB31CC511}"/>
              </a:ext>
            </a:extLst>
          </p:cNvPr>
          <p:cNvSpPr/>
          <p:nvPr userDrawn="1"/>
        </p:nvSpPr>
        <p:spPr>
          <a:xfrm>
            <a:off x="-62826" y="-56259"/>
            <a:ext cx="12363265" cy="6973703"/>
          </a:xfrm>
          <a:custGeom>
            <a:avLst/>
            <a:gdLst>
              <a:gd name="connsiteX0" fmla="*/ 6655033 w 24377650"/>
              <a:gd name="connsiteY0" fmla="*/ 2253637 h 13716000"/>
              <a:gd name="connsiteX1" fmla="*/ 1239223 w 24377650"/>
              <a:gd name="connsiteY1" fmla="*/ 7669447 h 13716000"/>
              <a:gd name="connsiteX2" fmla="*/ 6655033 w 24377650"/>
              <a:gd name="connsiteY2" fmla="*/ 13085257 h 13716000"/>
              <a:gd name="connsiteX3" fmla="*/ 12070842 w 24377650"/>
              <a:gd name="connsiteY3" fmla="*/ 7669447 h 13716000"/>
              <a:gd name="connsiteX4" fmla="*/ 6655033 w 24377650"/>
              <a:gd name="connsiteY4" fmla="*/ 2253637 h 13716000"/>
              <a:gd name="connsiteX5" fmla="*/ 0 w 24377650"/>
              <a:gd name="connsiteY5" fmla="*/ 0 h 13716000"/>
              <a:gd name="connsiteX6" fmla="*/ 24377650 w 24377650"/>
              <a:gd name="connsiteY6" fmla="*/ 0 h 13716000"/>
              <a:gd name="connsiteX7" fmla="*/ 24377650 w 24377650"/>
              <a:gd name="connsiteY7" fmla="*/ 13716000 h 13716000"/>
              <a:gd name="connsiteX8" fmla="*/ 0 w 24377650"/>
              <a:gd name="connsiteY8" fmla="*/ 13716000 h 13716000"/>
              <a:gd name="connsiteX0" fmla="*/ 6655033 w 24377650"/>
              <a:gd name="connsiteY0" fmla="*/ 2253637 h 14525468"/>
              <a:gd name="connsiteX1" fmla="*/ 1239223 w 24377650"/>
              <a:gd name="connsiteY1" fmla="*/ 7669447 h 14525468"/>
              <a:gd name="connsiteX2" fmla="*/ 6655033 w 24377650"/>
              <a:gd name="connsiteY2" fmla="*/ 13085257 h 14525468"/>
              <a:gd name="connsiteX3" fmla="*/ 12070842 w 24377650"/>
              <a:gd name="connsiteY3" fmla="*/ 7669447 h 14525468"/>
              <a:gd name="connsiteX4" fmla="*/ 6655033 w 24377650"/>
              <a:gd name="connsiteY4" fmla="*/ 2253637 h 14525468"/>
              <a:gd name="connsiteX5" fmla="*/ 0 w 24377650"/>
              <a:gd name="connsiteY5" fmla="*/ 0 h 14525468"/>
              <a:gd name="connsiteX6" fmla="*/ 24377650 w 24377650"/>
              <a:gd name="connsiteY6" fmla="*/ 0 h 14525468"/>
              <a:gd name="connsiteX7" fmla="*/ 24377650 w 24377650"/>
              <a:gd name="connsiteY7" fmla="*/ 13716000 h 14525468"/>
              <a:gd name="connsiteX8" fmla="*/ 0 w 24377650"/>
              <a:gd name="connsiteY8" fmla="*/ 14525468 h 14525468"/>
              <a:gd name="connsiteX9" fmla="*/ 0 w 24377650"/>
              <a:gd name="connsiteY9" fmla="*/ 0 h 14525468"/>
              <a:gd name="connsiteX0" fmla="*/ 6655033 w 24377650"/>
              <a:gd name="connsiteY0" fmla="*/ 2253637 h 14555450"/>
              <a:gd name="connsiteX1" fmla="*/ 1239223 w 24377650"/>
              <a:gd name="connsiteY1" fmla="*/ 7669447 h 14555450"/>
              <a:gd name="connsiteX2" fmla="*/ 6655033 w 24377650"/>
              <a:gd name="connsiteY2" fmla="*/ 13085257 h 14555450"/>
              <a:gd name="connsiteX3" fmla="*/ 12070842 w 24377650"/>
              <a:gd name="connsiteY3" fmla="*/ 7669447 h 14555450"/>
              <a:gd name="connsiteX4" fmla="*/ 6655033 w 24377650"/>
              <a:gd name="connsiteY4" fmla="*/ 2253637 h 14555450"/>
              <a:gd name="connsiteX5" fmla="*/ 0 w 24377650"/>
              <a:gd name="connsiteY5" fmla="*/ 0 h 14555450"/>
              <a:gd name="connsiteX6" fmla="*/ 24377650 w 24377650"/>
              <a:gd name="connsiteY6" fmla="*/ 0 h 14555450"/>
              <a:gd name="connsiteX7" fmla="*/ 24287708 w 24377650"/>
              <a:gd name="connsiteY7" fmla="*/ 14555450 h 14555450"/>
              <a:gd name="connsiteX8" fmla="*/ 0 w 24377650"/>
              <a:gd name="connsiteY8" fmla="*/ 14525468 h 14555450"/>
              <a:gd name="connsiteX9" fmla="*/ 0 w 24377650"/>
              <a:gd name="connsiteY9" fmla="*/ 0 h 14555450"/>
              <a:gd name="connsiteX0" fmla="*/ 6685013 w 24407630"/>
              <a:gd name="connsiteY0" fmla="*/ 2253637 h 14555450"/>
              <a:gd name="connsiteX1" fmla="*/ 1269203 w 24407630"/>
              <a:gd name="connsiteY1" fmla="*/ 7669447 h 14555450"/>
              <a:gd name="connsiteX2" fmla="*/ 6685013 w 24407630"/>
              <a:gd name="connsiteY2" fmla="*/ 13085257 h 14555450"/>
              <a:gd name="connsiteX3" fmla="*/ 12100822 w 24407630"/>
              <a:gd name="connsiteY3" fmla="*/ 7669447 h 14555450"/>
              <a:gd name="connsiteX4" fmla="*/ 6685013 w 24407630"/>
              <a:gd name="connsiteY4" fmla="*/ 2253637 h 14555450"/>
              <a:gd name="connsiteX5" fmla="*/ 0 w 24407630"/>
              <a:gd name="connsiteY5" fmla="*/ 989350 h 14555450"/>
              <a:gd name="connsiteX6" fmla="*/ 24407630 w 24407630"/>
              <a:gd name="connsiteY6" fmla="*/ 0 h 14555450"/>
              <a:gd name="connsiteX7" fmla="*/ 24317688 w 24407630"/>
              <a:gd name="connsiteY7" fmla="*/ 14555450 h 14555450"/>
              <a:gd name="connsiteX8" fmla="*/ 29980 w 24407630"/>
              <a:gd name="connsiteY8" fmla="*/ 14525468 h 14555450"/>
              <a:gd name="connsiteX9" fmla="*/ 0 w 24407630"/>
              <a:gd name="connsiteY9" fmla="*/ 989350 h 14555450"/>
              <a:gd name="connsiteX0" fmla="*/ 6685013 w 24407630"/>
              <a:gd name="connsiteY0" fmla="*/ 2253637 h 14555450"/>
              <a:gd name="connsiteX1" fmla="*/ 1269203 w 24407630"/>
              <a:gd name="connsiteY1" fmla="*/ 7669447 h 14555450"/>
              <a:gd name="connsiteX2" fmla="*/ 6685013 w 24407630"/>
              <a:gd name="connsiteY2" fmla="*/ 13085257 h 14555450"/>
              <a:gd name="connsiteX3" fmla="*/ 12100822 w 24407630"/>
              <a:gd name="connsiteY3" fmla="*/ 7669447 h 14555450"/>
              <a:gd name="connsiteX4" fmla="*/ 6685013 w 24407630"/>
              <a:gd name="connsiteY4" fmla="*/ 2253637 h 14555450"/>
              <a:gd name="connsiteX5" fmla="*/ 0 w 24407630"/>
              <a:gd name="connsiteY5" fmla="*/ 869428 h 14555450"/>
              <a:gd name="connsiteX6" fmla="*/ 24407630 w 24407630"/>
              <a:gd name="connsiteY6" fmla="*/ 0 h 14555450"/>
              <a:gd name="connsiteX7" fmla="*/ 24317688 w 24407630"/>
              <a:gd name="connsiteY7" fmla="*/ 14555450 h 14555450"/>
              <a:gd name="connsiteX8" fmla="*/ 29980 w 24407630"/>
              <a:gd name="connsiteY8" fmla="*/ 14525468 h 14555450"/>
              <a:gd name="connsiteX9" fmla="*/ 0 w 24407630"/>
              <a:gd name="connsiteY9" fmla="*/ 869428 h 14555450"/>
              <a:gd name="connsiteX0" fmla="*/ 6685013 w 24317688"/>
              <a:gd name="connsiteY0" fmla="*/ 1384209 h 13686022"/>
              <a:gd name="connsiteX1" fmla="*/ 1269203 w 24317688"/>
              <a:gd name="connsiteY1" fmla="*/ 6800019 h 13686022"/>
              <a:gd name="connsiteX2" fmla="*/ 6685013 w 24317688"/>
              <a:gd name="connsiteY2" fmla="*/ 12215829 h 13686022"/>
              <a:gd name="connsiteX3" fmla="*/ 12100822 w 24317688"/>
              <a:gd name="connsiteY3" fmla="*/ 6800019 h 13686022"/>
              <a:gd name="connsiteX4" fmla="*/ 6685013 w 24317688"/>
              <a:gd name="connsiteY4" fmla="*/ 1384209 h 13686022"/>
              <a:gd name="connsiteX5" fmla="*/ 0 w 24317688"/>
              <a:gd name="connsiteY5" fmla="*/ 0 h 13686022"/>
              <a:gd name="connsiteX6" fmla="*/ 24317688 w 24317688"/>
              <a:gd name="connsiteY6" fmla="*/ 1558978 h 13686022"/>
              <a:gd name="connsiteX7" fmla="*/ 24317688 w 24317688"/>
              <a:gd name="connsiteY7" fmla="*/ 13686022 h 13686022"/>
              <a:gd name="connsiteX8" fmla="*/ 29980 w 24317688"/>
              <a:gd name="connsiteY8" fmla="*/ 13656040 h 13686022"/>
              <a:gd name="connsiteX9" fmla="*/ 0 w 24317688"/>
              <a:gd name="connsiteY9" fmla="*/ 0 h 13686022"/>
              <a:gd name="connsiteX0" fmla="*/ 6685013 w 24377648"/>
              <a:gd name="connsiteY0" fmla="*/ 1414189 h 13716002"/>
              <a:gd name="connsiteX1" fmla="*/ 1269203 w 24377648"/>
              <a:gd name="connsiteY1" fmla="*/ 6829999 h 13716002"/>
              <a:gd name="connsiteX2" fmla="*/ 6685013 w 24377648"/>
              <a:gd name="connsiteY2" fmla="*/ 12245809 h 13716002"/>
              <a:gd name="connsiteX3" fmla="*/ 12100822 w 24377648"/>
              <a:gd name="connsiteY3" fmla="*/ 6829999 h 13716002"/>
              <a:gd name="connsiteX4" fmla="*/ 6685013 w 24377648"/>
              <a:gd name="connsiteY4" fmla="*/ 1414189 h 13716002"/>
              <a:gd name="connsiteX5" fmla="*/ 0 w 24377648"/>
              <a:gd name="connsiteY5" fmla="*/ 29980 h 13716002"/>
              <a:gd name="connsiteX6" fmla="*/ 24377648 w 24377648"/>
              <a:gd name="connsiteY6" fmla="*/ 0 h 13716002"/>
              <a:gd name="connsiteX7" fmla="*/ 24317688 w 24377648"/>
              <a:gd name="connsiteY7" fmla="*/ 13716002 h 13716002"/>
              <a:gd name="connsiteX8" fmla="*/ 29980 w 24377648"/>
              <a:gd name="connsiteY8" fmla="*/ 13686020 h 13716002"/>
              <a:gd name="connsiteX9" fmla="*/ 0 w 24377648"/>
              <a:gd name="connsiteY9" fmla="*/ 29980 h 13716002"/>
              <a:gd name="connsiteX0" fmla="*/ 6714993 w 24407628"/>
              <a:gd name="connsiteY0" fmla="*/ 1474149 h 13775962"/>
              <a:gd name="connsiteX1" fmla="*/ 1299183 w 24407628"/>
              <a:gd name="connsiteY1" fmla="*/ 6889959 h 13775962"/>
              <a:gd name="connsiteX2" fmla="*/ 6714993 w 24407628"/>
              <a:gd name="connsiteY2" fmla="*/ 12305769 h 13775962"/>
              <a:gd name="connsiteX3" fmla="*/ 12130802 w 24407628"/>
              <a:gd name="connsiteY3" fmla="*/ 6889959 h 13775962"/>
              <a:gd name="connsiteX4" fmla="*/ 6714993 w 24407628"/>
              <a:gd name="connsiteY4" fmla="*/ 1474149 h 13775962"/>
              <a:gd name="connsiteX5" fmla="*/ 0 w 24407628"/>
              <a:gd name="connsiteY5" fmla="*/ 0 h 13775962"/>
              <a:gd name="connsiteX6" fmla="*/ 24407628 w 24407628"/>
              <a:gd name="connsiteY6" fmla="*/ 59960 h 13775962"/>
              <a:gd name="connsiteX7" fmla="*/ 24347668 w 24407628"/>
              <a:gd name="connsiteY7" fmla="*/ 13775962 h 13775962"/>
              <a:gd name="connsiteX8" fmla="*/ 59960 w 24407628"/>
              <a:gd name="connsiteY8" fmla="*/ 13745980 h 13775962"/>
              <a:gd name="connsiteX9" fmla="*/ 0 w 24407628"/>
              <a:gd name="connsiteY9" fmla="*/ 0 h 13775962"/>
              <a:gd name="connsiteX0" fmla="*/ 6714993 w 24407628"/>
              <a:gd name="connsiteY0" fmla="*/ 1414189 h 13716002"/>
              <a:gd name="connsiteX1" fmla="*/ 1299183 w 24407628"/>
              <a:gd name="connsiteY1" fmla="*/ 6829999 h 13716002"/>
              <a:gd name="connsiteX2" fmla="*/ 6714993 w 24407628"/>
              <a:gd name="connsiteY2" fmla="*/ 12245809 h 13716002"/>
              <a:gd name="connsiteX3" fmla="*/ 12130802 w 24407628"/>
              <a:gd name="connsiteY3" fmla="*/ 6829999 h 13716002"/>
              <a:gd name="connsiteX4" fmla="*/ 6714993 w 24407628"/>
              <a:gd name="connsiteY4" fmla="*/ 1414189 h 13716002"/>
              <a:gd name="connsiteX5" fmla="*/ 0 w 24407628"/>
              <a:gd name="connsiteY5" fmla="*/ 29980 h 13716002"/>
              <a:gd name="connsiteX6" fmla="*/ 24407628 w 24407628"/>
              <a:gd name="connsiteY6" fmla="*/ 0 h 13716002"/>
              <a:gd name="connsiteX7" fmla="*/ 24347668 w 24407628"/>
              <a:gd name="connsiteY7" fmla="*/ 13716002 h 13716002"/>
              <a:gd name="connsiteX8" fmla="*/ 59960 w 24407628"/>
              <a:gd name="connsiteY8" fmla="*/ 13686020 h 13716002"/>
              <a:gd name="connsiteX9" fmla="*/ 0 w 24407628"/>
              <a:gd name="connsiteY9" fmla="*/ 29980 h 13716002"/>
              <a:gd name="connsiteX0" fmla="*/ 6746301 w 24438936"/>
              <a:gd name="connsiteY0" fmla="*/ 1414189 h 13716002"/>
              <a:gd name="connsiteX1" fmla="*/ 1330491 w 24438936"/>
              <a:gd name="connsiteY1" fmla="*/ 6829999 h 13716002"/>
              <a:gd name="connsiteX2" fmla="*/ 6746301 w 24438936"/>
              <a:gd name="connsiteY2" fmla="*/ 12245809 h 13716002"/>
              <a:gd name="connsiteX3" fmla="*/ 12162110 w 24438936"/>
              <a:gd name="connsiteY3" fmla="*/ 6829999 h 13716002"/>
              <a:gd name="connsiteX4" fmla="*/ 6746301 w 24438936"/>
              <a:gd name="connsiteY4" fmla="*/ 1414189 h 13716002"/>
              <a:gd name="connsiteX5" fmla="*/ 31308 w 24438936"/>
              <a:gd name="connsiteY5" fmla="*/ 29980 h 13716002"/>
              <a:gd name="connsiteX6" fmla="*/ 24438936 w 24438936"/>
              <a:gd name="connsiteY6" fmla="*/ 0 h 13716002"/>
              <a:gd name="connsiteX7" fmla="*/ 24378976 w 24438936"/>
              <a:gd name="connsiteY7" fmla="*/ 13716002 h 13716002"/>
              <a:gd name="connsiteX8" fmla="*/ 1328 w 24438936"/>
              <a:gd name="connsiteY8" fmla="*/ 13686020 h 13716002"/>
              <a:gd name="connsiteX9" fmla="*/ 31308 w 24438936"/>
              <a:gd name="connsiteY9" fmla="*/ 29980 h 13716002"/>
              <a:gd name="connsiteX0" fmla="*/ 6746301 w 24498896"/>
              <a:gd name="connsiteY0" fmla="*/ 1414189 h 13716002"/>
              <a:gd name="connsiteX1" fmla="*/ 1330491 w 24498896"/>
              <a:gd name="connsiteY1" fmla="*/ 6829999 h 13716002"/>
              <a:gd name="connsiteX2" fmla="*/ 6746301 w 24498896"/>
              <a:gd name="connsiteY2" fmla="*/ 12245809 h 13716002"/>
              <a:gd name="connsiteX3" fmla="*/ 12162110 w 24498896"/>
              <a:gd name="connsiteY3" fmla="*/ 6829999 h 13716002"/>
              <a:gd name="connsiteX4" fmla="*/ 6746301 w 24498896"/>
              <a:gd name="connsiteY4" fmla="*/ 1414189 h 13716002"/>
              <a:gd name="connsiteX5" fmla="*/ 31308 w 24498896"/>
              <a:gd name="connsiteY5" fmla="*/ 29980 h 13716002"/>
              <a:gd name="connsiteX6" fmla="*/ 24438936 w 24498896"/>
              <a:gd name="connsiteY6" fmla="*/ 0 h 13716002"/>
              <a:gd name="connsiteX7" fmla="*/ 24498896 w 24498896"/>
              <a:gd name="connsiteY7" fmla="*/ 13716002 h 13716002"/>
              <a:gd name="connsiteX8" fmla="*/ 1328 w 24498896"/>
              <a:gd name="connsiteY8" fmla="*/ 13686020 h 13716002"/>
              <a:gd name="connsiteX9" fmla="*/ 31308 w 24498896"/>
              <a:gd name="connsiteY9" fmla="*/ 29980 h 13716002"/>
              <a:gd name="connsiteX0" fmla="*/ 6746301 w 24468916"/>
              <a:gd name="connsiteY0" fmla="*/ 1414189 h 13745982"/>
              <a:gd name="connsiteX1" fmla="*/ 1330491 w 24468916"/>
              <a:gd name="connsiteY1" fmla="*/ 6829999 h 13745982"/>
              <a:gd name="connsiteX2" fmla="*/ 6746301 w 24468916"/>
              <a:gd name="connsiteY2" fmla="*/ 12245809 h 13745982"/>
              <a:gd name="connsiteX3" fmla="*/ 12162110 w 24468916"/>
              <a:gd name="connsiteY3" fmla="*/ 6829999 h 13745982"/>
              <a:gd name="connsiteX4" fmla="*/ 6746301 w 24468916"/>
              <a:gd name="connsiteY4" fmla="*/ 1414189 h 13745982"/>
              <a:gd name="connsiteX5" fmla="*/ 31308 w 24468916"/>
              <a:gd name="connsiteY5" fmla="*/ 29980 h 13745982"/>
              <a:gd name="connsiteX6" fmla="*/ 24438936 w 24468916"/>
              <a:gd name="connsiteY6" fmla="*/ 0 h 13745982"/>
              <a:gd name="connsiteX7" fmla="*/ 24468916 w 24468916"/>
              <a:gd name="connsiteY7" fmla="*/ 13745982 h 13745982"/>
              <a:gd name="connsiteX8" fmla="*/ 1328 w 24468916"/>
              <a:gd name="connsiteY8" fmla="*/ 13686020 h 13745982"/>
              <a:gd name="connsiteX9" fmla="*/ 31308 w 24468916"/>
              <a:gd name="connsiteY9" fmla="*/ 29980 h 13745982"/>
              <a:gd name="connsiteX0" fmla="*/ 6746301 w 24529744"/>
              <a:gd name="connsiteY0" fmla="*/ 1444169 h 13775962"/>
              <a:gd name="connsiteX1" fmla="*/ 1330491 w 24529744"/>
              <a:gd name="connsiteY1" fmla="*/ 6859979 h 13775962"/>
              <a:gd name="connsiteX2" fmla="*/ 6746301 w 24529744"/>
              <a:gd name="connsiteY2" fmla="*/ 12275789 h 13775962"/>
              <a:gd name="connsiteX3" fmla="*/ 12162110 w 24529744"/>
              <a:gd name="connsiteY3" fmla="*/ 6859979 h 13775962"/>
              <a:gd name="connsiteX4" fmla="*/ 6746301 w 24529744"/>
              <a:gd name="connsiteY4" fmla="*/ 1444169 h 13775962"/>
              <a:gd name="connsiteX5" fmla="*/ 31308 w 24529744"/>
              <a:gd name="connsiteY5" fmla="*/ 59960 h 13775962"/>
              <a:gd name="connsiteX6" fmla="*/ 24528878 w 24529744"/>
              <a:gd name="connsiteY6" fmla="*/ 0 h 13775962"/>
              <a:gd name="connsiteX7" fmla="*/ 24468916 w 24529744"/>
              <a:gd name="connsiteY7" fmla="*/ 13775962 h 13775962"/>
              <a:gd name="connsiteX8" fmla="*/ 1328 w 24529744"/>
              <a:gd name="connsiteY8" fmla="*/ 13716000 h 13775962"/>
              <a:gd name="connsiteX9" fmla="*/ 31308 w 24529744"/>
              <a:gd name="connsiteY9" fmla="*/ 59960 h 13775962"/>
              <a:gd name="connsiteX0" fmla="*/ 6746301 w 24533094"/>
              <a:gd name="connsiteY0" fmla="*/ 1444169 h 13775962"/>
              <a:gd name="connsiteX1" fmla="*/ 1330491 w 24533094"/>
              <a:gd name="connsiteY1" fmla="*/ 6859979 h 13775962"/>
              <a:gd name="connsiteX2" fmla="*/ 6746301 w 24533094"/>
              <a:gd name="connsiteY2" fmla="*/ 12275789 h 13775962"/>
              <a:gd name="connsiteX3" fmla="*/ 12162110 w 24533094"/>
              <a:gd name="connsiteY3" fmla="*/ 6859979 h 13775962"/>
              <a:gd name="connsiteX4" fmla="*/ 6746301 w 24533094"/>
              <a:gd name="connsiteY4" fmla="*/ 1444169 h 13775962"/>
              <a:gd name="connsiteX5" fmla="*/ 31308 w 24533094"/>
              <a:gd name="connsiteY5" fmla="*/ 59960 h 13775962"/>
              <a:gd name="connsiteX6" fmla="*/ 24528878 w 24533094"/>
              <a:gd name="connsiteY6" fmla="*/ 0 h 13775962"/>
              <a:gd name="connsiteX7" fmla="*/ 24533094 w 24533094"/>
              <a:gd name="connsiteY7" fmla="*/ 13775962 h 13775962"/>
              <a:gd name="connsiteX8" fmla="*/ 1328 w 24533094"/>
              <a:gd name="connsiteY8" fmla="*/ 13716000 h 13775962"/>
              <a:gd name="connsiteX9" fmla="*/ 31308 w 24533094"/>
              <a:gd name="connsiteY9" fmla="*/ 59960 h 13775962"/>
              <a:gd name="connsiteX0" fmla="*/ 6746301 w 24533094"/>
              <a:gd name="connsiteY0" fmla="*/ 1444169 h 13779830"/>
              <a:gd name="connsiteX1" fmla="*/ 1330491 w 24533094"/>
              <a:gd name="connsiteY1" fmla="*/ 6859979 h 13779830"/>
              <a:gd name="connsiteX2" fmla="*/ 6746301 w 24533094"/>
              <a:gd name="connsiteY2" fmla="*/ 12275789 h 13779830"/>
              <a:gd name="connsiteX3" fmla="*/ 12162110 w 24533094"/>
              <a:gd name="connsiteY3" fmla="*/ 6859979 h 13779830"/>
              <a:gd name="connsiteX4" fmla="*/ 6746301 w 24533094"/>
              <a:gd name="connsiteY4" fmla="*/ 1444169 h 13779830"/>
              <a:gd name="connsiteX5" fmla="*/ 31308 w 24533094"/>
              <a:gd name="connsiteY5" fmla="*/ 59960 h 13779830"/>
              <a:gd name="connsiteX6" fmla="*/ 24528878 w 24533094"/>
              <a:gd name="connsiteY6" fmla="*/ 0 h 13779830"/>
              <a:gd name="connsiteX7" fmla="*/ 24533094 w 24533094"/>
              <a:gd name="connsiteY7" fmla="*/ 13775962 h 13779830"/>
              <a:gd name="connsiteX8" fmla="*/ 1328 w 24533094"/>
              <a:gd name="connsiteY8" fmla="*/ 13779830 h 13779830"/>
              <a:gd name="connsiteX9" fmla="*/ 31308 w 24533094"/>
              <a:gd name="connsiteY9" fmla="*/ 59960 h 13779830"/>
              <a:gd name="connsiteX0" fmla="*/ 6757777 w 24544570"/>
              <a:gd name="connsiteY0" fmla="*/ 1444169 h 13779830"/>
              <a:gd name="connsiteX1" fmla="*/ 1341967 w 24544570"/>
              <a:gd name="connsiteY1" fmla="*/ 6859979 h 13779830"/>
              <a:gd name="connsiteX2" fmla="*/ 6757777 w 24544570"/>
              <a:gd name="connsiteY2" fmla="*/ 12275789 h 13779830"/>
              <a:gd name="connsiteX3" fmla="*/ 12173586 w 24544570"/>
              <a:gd name="connsiteY3" fmla="*/ 6859979 h 13779830"/>
              <a:gd name="connsiteX4" fmla="*/ 6757777 w 24544570"/>
              <a:gd name="connsiteY4" fmla="*/ 1444169 h 13779830"/>
              <a:gd name="connsiteX5" fmla="*/ 0 w 24544570"/>
              <a:gd name="connsiteY5" fmla="*/ 17405 h 13779830"/>
              <a:gd name="connsiteX6" fmla="*/ 24540354 w 24544570"/>
              <a:gd name="connsiteY6" fmla="*/ 0 h 13779830"/>
              <a:gd name="connsiteX7" fmla="*/ 24544570 w 24544570"/>
              <a:gd name="connsiteY7" fmla="*/ 13775962 h 13779830"/>
              <a:gd name="connsiteX8" fmla="*/ 12804 w 24544570"/>
              <a:gd name="connsiteY8" fmla="*/ 13779830 h 13779830"/>
              <a:gd name="connsiteX9" fmla="*/ 0 w 24544570"/>
              <a:gd name="connsiteY9" fmla="*/ 17405 h 13779830"/>
              <a:gd name="connsiteX0" fmla="*/ 6745727 w 24532520"/>
              <a:gd name="connsiteY0" fmla="*/ 1444169 h 13779830"/>
              <a:gd name="connsiteX1" fmla="*/ 1329917 w 24532520"/>
              <a:gd name="connsiteY1" fmla="*/ 6859979 h 13779830"/>
              <a:gd name="connsiteX2" fmla="*/ 6745727 w 24532520"/>
              <a:gd name="connsiteY2" fmla="*/ 12275789 h 13779830"/>
              <a:gd name="connsiteX3" fmla="*/ 12161536 w 24532520"/>
              <a:gd name="connsiteY3" fmla="*/ 6859979 h 13779830"/>
              <a:gd name="connsiteX4" fmla="*/ 6745727 w 24532520"/>
              <a:gd name="connsiteY4" fmla="*/ 1444169 h 13779830"/>
              <a:gd name="connsiteX5" fmla="*/ 73518 w 24532520"/>
              <a:gd name="connsiteY5" fmla="*/ 17405 h 13779830"/>
              <a:gd name="connsiteX6" fmla="*/ 24528304 w 24532520"/>
              <a:gd name="connsiteY6" fmla="*/ 0 h 13779830"/>
              <a:gd name="connsiteX7" fmla="*/ 24532520 w 24532520"/>
              <a:gd name="connsiteY7" fmla="*/ 13775962 h 13779830"/>
              <a:gd name="connsiteX8" fmla="*/ 754 w 24532520"/>
              <a:gd name="connsiteY8" fmla="*/ 13779830 h 13779830"/>
              <a:gd name="connsiteX9" fmla="*/ 73518 w 24532520"/>
              <a:gd name="connsiteY9" fmla="*/ 17405 h 13779830"/>
              <a:gd name="connsiteX0" fmla="*/ 6747127 w 24533920"/>
              <a:gd name="connsiteY0" fmla="*/ 1444169 h 13779830"/>
              <a:gd name="connsiteX1" fmla="*/ 1331317 w 24533920"/>
              <a:gd name="connsiteY1" fmla="*/ 6859979 h 13779830"/>
              <a:gd name="connsiteX2" fmla="*/ 6747127 w 24533920"/>
              <a:gd name="connsiteY2" fmla="*/ 12275789 h 13779830"/>
              <a:gd name="connsiteX3" fmla="*/ 12162936 w 24533920"/>
              <a:gd name="connsiteY3" fmla="*/ 6859979 h 13779830"/>
              <a:gd name="connsiteX4" fmla="*/ 6747127 w 24533920"/>
              <a:gd name="connsiteY4" fmla="*/ 1444169 h 13779830"/>
              <a:gd name="connsiteX5" fmla="*/ 10744 w 24533920"/>
              <a:gd name="connsiteY5" fmla="*/ 38680 h 13779830"/>
              <a:gd name="connsiteX6" fmla="*/ 24529704 w 24533920"/>
              <a:gd name="connsiteY6" fmla="*/ 0 h 13779830"/>
              <a:gd name="connsiteX7" fmla="*/ 24533920 w 24533920"/>
              <a:gd name="connsiteY7" fmla="*/ 13775962 h 13779830"/>
              <a:gd name="connsiteX8" fmla="*/ 2154 w 24533920"/>
              <a:gd name="connsiteY8" fmla="*/ 13779830 h 13779830"/>
              <a:gd name="connsiteX9" fmla="*/ 10744 w 24533920"/>
              <a:gd name="connsiteY9" fmla="*/ 38680 h 13779830"/>
              <a:gd name="connsiteX0" fmla="*/ 6971697 w 24758490"/>
              <a:gd name="connsiteY0" fmla="*/ 1444169 h 13779830"/>
              <a:gd name="connsiteX1" fmla="*/ 1555887 w 24758490"/>
              <a:gd name="connsiteY1" fmla="*/ 6859979 h 13779830"/>
              <a:gd name="connsiteX2" fmla="*/ 6971697 w 24758490"/>
              <a:gd name="connsiteY2" fmla="*/ 12275789 h 13779830"/>
              <a:gd name="connsiteX3" fmla="*/ 12387506 w 24758490"/>
              <a:gd name="connsiteY3" fmla="*/ 6859979 h 13779830"/>
              <a:gd name="connsiteX4" fmla="*/ 6971697 w 24758490"/>
              <a:gd name="connsiteY4" fmla="*/ 1444169 h 13779830"/>
              <a:gd name="connsiteX5" fmla="*/ 0 w 24758490"/>
              <a:gd name="connsiteY5" fmla="*/ 59958 h 13779830"/>
              <a:gd name="connsiteX6" fmla="*/ 24754274 w 24758490"/>
              <a:gd name="connsiteY6" fmla="*/ 0 h 13779830"/>
              <a:gd name="connsiteX7" fmla="*/ 24758490 w 24758490"/>
              <a:gd name="connsiteY7" fmla="*/ 13775962 h 13779830"/>
              <a:gd name="connsiteX8" fmla="*/ 226724 w 24758490"/>
              <a:gd name="connsiteY8" fmla="*/ 13779830 h 13779830"/>
              <a:gd name="connsiteX9" fmla="*/ 0 w 24758490"/>
              <a:gd name="connsiteY9" fmla="*/ 59958 h 13779830"/>
              <a:gd name="connsiteX0" fmla="*/ 6746302 w 24533095"/>
              <a:gd name="connsiteY0" fmla="*/ 1444169 h 13779830"/>
              <a:gd name="connsiteX1" fmla="*/ 1330492 w 24533095"/>
              <a:gd name="connsiteY1" fmla="*/ 6859979 h 13779830"/>
              <a:gd name="connsiteX2" fmla="*/ 6746302 w 24533095"/>
              <a:gd name="connsiteY2" fmla="*/ 12275789 h 13779830"/>
              <a:gd name="connsiteX3" fmla="*/ 12162111 w 24533095"/>
              <a:gd name="connsiteY3" fmla="*/ 6859979 h 13779830"/>
              <a:gd name="connsiteX4" fmla="*/ 6746302 w 24533095"/>
              <a:gd name="connsiteY4" fmla="*/ 1444169 h 13779830"/>
              <a:gd name="connsiteX5" fmla="*/ 31312 w 24533095"/>
              <a:gd name="connsiteY5" fmla="*/ 17405 h 13779830"/>
              <a:gd name="connsiteX6" fmla="*/ 24528879 w 24533095"/>
              <a:gd name="connsiteY6" fmla="*/ 0 h 13779830"/>
              <a:gd name="connsiteX7" fmla="*/ 24533095 w 24533095"/>
              <a:gd name="connsiteY7" fmla="*/ 13775962 h 13779830"/>
              <a:gd name="connsiteX8" fmla="*/ 1329 w 24533095"/>
              <a:gd name="connsiteY8" fmla="*/ 13779830 h 13779830"/>
              <a:gd name="connsiteX9" fmla="*/ 31312 w 24533095"/>
              <a:gd name="connsiteY9" fmla="*/ 17405 h 13779830"/>
              <a:gd name="connsiteX0" fmla="*/ 6838287 w 24625080"/>
              <a:gd name="connsiteY0" fmla="*/ 1444169 h 13779830"/>
              <a:gd name="connsiteX1" fmla="*/ 1422477 w 24625080"/>
              <a:gd name="connsiteY1" fmla="*/ 6859979 h 13779830"/>
              <a:gd name="connsiteX2" fmla="*/ 6838287 w 24625080"/>
              <a:gd name="connsiteY2" fmla="*/ 12275789 h 13779830"/>
              <a:gd name="connsiteX3" fmla="*/ 12254096 w 24625080"/>
              <a:gd name="connsiteY3" fmla="*/ 6859979 h 13779830"/>
              <a:gd name="connsiteX4" fmla="*/ 6838287 w 24625080"/>
              <a:gd name="connsiteY4" fmla="*/ 1444169 h 13779830"/>
              <a:gd name="connsiteX5" fmla="*/ 0 w 24625080"/>
              <a:gd name="connsiteY5" fmla="*/ 91486 h 13779830"/>
              <a:gd name="connsiteX6" fmla="*/ 24620864 w 24625080"/>
              <a:gd name="connsiteY6" fmla="*/ 0 h 13779830"/>
              <a:gd name="connsiteX7" fmla="*/ 24625080 w 24625080"/>
              <a:gd name="connsiteY7" fmla="*/ 13775962 h 13779830"/>
              <a:gd name="connsiteX8" fmla="*/ 93314 w 24625080"/>
              <a:gd name="connsiteY8" fmla="*/ 13779830 h 13779830"/>
              <a:gd name="connsiteX9" fmla="*/ 0 w 24625080"/>
              <a:gd name="connsiteY9" fmla="*/ 91486 h 13779830"/>
              <a:gd name="connsiteX0" fmla="*/ 6747642 w 24534435"/>
              <a:gd name="connsiteY0" fmla="*/ 1444169 h 13779830"/>
              <a:gd name="connsiteX1" fmla="*/ 1331832 w 24534435"/>
              <a:gd name="connsiteY1" fmla="*/ 6859979 h 13779830"/>
              <a:gd name="connsiteX2" fmla="*/ 6747642 w 24534435"/>
              <a:gd name="connsiteY2" fmla="*/ 12275789 h 13779830"/>
              <a:gd name="connsiteX3" fmla="*/ 12163451 w 24534435"/>
              <a:gd name="connsiteY3" fmla="*/ 6859979 h 13779830"/>
              <a:gd name="connsiteX4" fmla="*/ 6747642 w 24534435"/>
              <a:gd name="connsiteY4" fmla="*/ 1444169 h 13779830"/>
              <a:gd name="connsiteX5" fmla="*/ 4693 w 24534435"/>
              <a:gd name="connsiteY5" fmla="*/ 117604 h 13779830"/>
              <a:gd name="connsiteX6" fmla="*/ 24530219 w 24534435"/>
              <a:gd name="connsiteY6" fmla="*/ 0 h 13779830"/>
              <a:gd name="connsiteX7" fmla="*/ 24534435 w 24534435"/>
              <a:gd name="connsiteY7" fmla="*/ 13775962 h 13779830"/>
              <a:gd name="connsiteX8" fmla="*/ 2669 w 24534435"/>
              <a:gd name="connsiteY8" fmla="*/ 13779830 h 13779830"/>
              <a:gd name="connsiteX9" fmla="*/ 4693 w 24534435"/>
              <a:gd name="connsiteY9" fmla="*/ 117604 h 13779830"/>
              <a:gd name="connsiteX0" fmla="*/ 6745620 w 24532413"/>
              <a:gd name="connsiteY0" fmla="*/ 1444169 h 13779830"/>
              <a:gd name="connsiteX1" fmla="*/ 1329810 w 24532413"/>
              <a:gd name="connsiteY1" fmla="*/ 6859979 h 13779830"/>
              <a:gd name="connsiteX2" fmla="*/ 6745620 w 24532413"/>
              <a:gd name="connsiteY2" fmla="*/ 12275789 h 13779830"/>
              <a:gd name="connsiteX3" fmla="*/ 12161429 w 24532413"/>
              <a:gd name="connsiteY3" fmla="*/ 6859979 h 13779830"/>
              <a:gd name="connsiteX4" fmla="*/ 6745620 w 24532413"/>
              <a:gd name="connsiteY4" fmla="*/ 1444169 h 13779830"/>
              <a:gd name="connsiteX5" fmla="*/ 89963 w 24532413"/>
              <a:gd name="connsiteY5" fmla="*/ 91486 h 13779830"/>
              <a:gd name="connsiteX6" fmla="*/ 24528197 w 24532413"/>
              <a:gd name="connsiteY6" fmla="*/ 0 h 13779830"/>
              <a:gd name="connsiteX7" fmla="*/ 24532413 w 24532413"/>
              <a:gd name="connsiteY7" fmla="*/ 13775962 h 13779830"/>
              <a:gd name="connsiteX8" fmla="*/ 647 w 24532413"/>
              <a:gd name="connsiteY8" fmla="*/ 13779830 h 13779830"/>
              <a:gd name="connsiteX9" fmla="*/ 89963 w 24532413"/>
              <a:gd name="connsiteY9" fmla="*/ 91486 h 13779830"/>
              <a:gd name="connsiteX0" fmla="*/ 6837605 w 24624398"/>
              <a:gd name="connsiteY0" fmla="*/ 1444169 h 13779830"/>
              <a:gd name="connsiteX1" fmla="*/ 1421795 w 24624398"/>
              <a:gd name="connsiteY1" fmla="*/ 6859979 h 13779830"/>
              <a:gd name="connsiteX2" fmla="*/ 6837605 w 24624398"/>
              <a:gd name="connsiteY2" fmla="*/ 12275789 h 13779830"/>
              <a:gd name="connsiteX3" fmla="*/ 12253414 w 24624398"/>
              <a:gd name="connsiteY3" fmla="*/ 6859979 h 13779830"/>
              <a:gd name="connsiteX4" fmla="*/ 6837605 w 24624398"/>
              <a:gd name="connsiteY4" fmla="*/ 1444169 h 13779830"/>
              <a:gd name="connsiteX5" fmla="*/ 0 w 24624398"/>
              <a:gd name="connsiteY5" fmla="*/ 91486 h 13779830"/>
              <a:gd name="connsiteX6" fmla="*/ 24620182 w 24624398"/>
              <a:gd name="connsiteY6" fmla="*/ 0 h 13779830"/>
              <a:gd name="connsiteX7" fmla="*/ 24624398 w 24624398"/>
              <a:gd name="connsiteY7" fmla="*/ 13775962 h 13779830"/>
              <a:gd name="connsiteX8" fmla="*/ 92632 w 24624398"/>
              <a:gd name="connsiteY8" fmla="*/ 13779830 h 13779830"/>
              <a:gd name="connsiteX9" fmla="*/ 0 w 24624398"/>
              <a:gd name="connsiteY9" fmla="*/ 91486 h 13779830"/>
              <a:gd name="connsiteX0" fmla="*/ 6747934 w 24534727"/>
              <a:gd name="connsiteY0" fmla="*/ 1444169 h 13779830"/>
              <a:gd name="connsiteX1" fmla="*/ 1332124 w 24534727"/>
              <a:gd name="connsiteY1" fmla="*/ 6859979 h 13779830"/>
              <a:gd name="connsiteX2" fmla="*/ 6747934 w 24534727"/>
              <a:gd name="connsiteY2" fmla="*/ 12275789 h 13779830"/>
              <a:gd name="connsiteX3" fmla="*/ 12163743 w 24534727"/>
              <a:gd name="connsiteY3" fmla="*/ 6859979 h 13779830"/>
              <a:gd name="connsiteX4" fmla="*/ 6747934 w 24534727"/>
              <a:gd name="connsiteY4" fmla="*/ 1444169 h 13779830"/>
              <a:gd name="connsiteX5" fmla="*/ 2314 w 24534727"/>
              <a:gd name="connsiteY5" fmla="*/ 91486 h 13779830"/>
              <a:gd name="connsiteX6" fmla="*/ 24530511 w 24534727"/>
              <a:gd name="connsiteY6" fmla="*/ 0 h 13779830"/>
              <a:gd name="connsiteX7" fmla="*/ 24534727 w 24534727"/>
              <a:gd name="connsiteY7" fmla="*/ 13775962 h 13779830"/>
              <a:gd name="connsiteX8" fmla="*/ 2961 w 24534727"/>
              <a:gd name="connsiteY8" fmla="*/ 13779830 h 13779830"/>
              <a:gd name="connsiteX9" fmla="*/ 2314 w 24534727"/>
              <a:gd name="connsiteY9" fmla="*/ 91486 h 13779830"/>
              <a:gd name="connsiteX0" fmla="*/ 6745001 w 24531794"/>
              <a:gd name="connsiteY0" fmla="*/ 1444169 h 13779830"/>
              <a:gd name="connsiteX1" fmla="*/ 1329191 w 24531794"/>
              <a:gd name="connsiteY1" fmla="*/ 6859979 h 13779830"/>
              <a:gd name="connsiteX2" fmla="*/ 6745001 w 24531794"/>
              <a:gd name="connsiteY2" fmla="*/ 12275789 h 13779830"/>
              <a:gd name="connsiteX3" fmla="*/ 12160810 w 24531794"/>
              <a:gd name="connsiteY3" fmla="*/ 6859979 h 13779830"/>
              <a:gd name="connsiteX4" fmla="*/ 6745001 w 24531794"/>
              <a:gd name="connsiteY4" fmla="*/ 1444169 h 13779830"/>
              <a:gd name="connsiteX5" fmla="*/ 2700322 w 24531794"/>
              <a:gd name="connsiteY5" fmla="*/ 91486 h 13779830"/>
              <a:gd name="connsiteX6" fmla="*/ 24527578 w 24531794"/>
              <a:gd name="connsiteY6" fmla="*/ 0 h 13779830"/>
              <a:gd name="connsiteX7" fmla="*/ 24531794 w 24531794"/>
              <a:gd name="connsiteY7" fmla="*/ 13775962 h 13779830"/>
              <a:gd name="connsiteX8" fmla="*/ 28 w 24531794"/>
              <a:gd name="connsiteY8" fmla="*/ 13779830 h 13779830"/>
              <a:gd name="connsiteX9" fmla="*/ 2700322 w 24531794"/>
              <a:gd name="connsiteY9" fmla="*/ 91486 h 13779830"/>
              <a:gd name="connsiteX0" fmla="*/ 6745079 w 24531872"/>
              <a:gd name="connsiteY0" fmla="*/ 1444169 h 13779830"/>
              <a:gd name="connsiteX1" fmla="*/ 1329269 w 24531872"/>
              <a:gd name="connsiteY1" fmla="*/ 6859979 h 13779830"/>
              <a:gd name="connsiteX2" fmla="*/ 6745079 w 24531872"/>
              <a:gd name="connsiteY2" fmla="*/ 12275789 h 13779830"/>
              <a:gd name="connsiteX3" fmla="*/ 12160888 w 24531872"/>
              <a:gd name="connsiteY3" fmla="*/ 6859979 h 13779830"/>
              <a:gd name="connsiteX4" fmla="*/ 6745079 w 24531872"/>
              <a:gd name="connsiteY4" fmla="*/ 1444169 h 13779830"/>
              <a:gd name="connsiteX5" fmla="*/ 676696 w 24531872"/>
              <a:gd name="connsiteY5" fmla="*/ 91486 h 13779830"/>
              <a:gd name="connsiteX6" fmla="*/ 24527656 w 24531872"/>
              <a:gd name="connsiteY6" fmla="*/ 0 h 13779830"/>
              <a:gd name="connsiteX7" fmla="*/ 24531872 w 24531872"/>
              <a:gd name="connsiteY7" fmla="*/ 13775962 h 13779830"/>
              <a:gd name="connsiteX8" fmla="*/ 106 w 24531872"/>
              <a:gd name="connsiteY8" fmla="*/ 13779830 h 13779830"/>
              <a:gd name="connsiteX9" fmla="*/ 676696 w 24531872"/>
              <a:gd name="connsiteY9" fmla="*/ 91486 h 13779830"/>
              <a:gd name="connsiteX0" fmla="*/ 6837064 w 24623857"/>
              <a:gd name="connsiteY0" fmla="*/ 1444169 h 13779830"/>
              <a:gd name="connsiteX1" fmla="*/ 1421254 w 24623857"/>
              <a:gd name="connsiteY1" fmla="*/ 6859979 h 13779830"/>
              <a:gd name="connsiteX2" fmla="*/ 6837064 w 24623857"/>
              <a:gd name="connsiteY2" fmla="*/ 12275789 h 13779830"/>
              <a:gd name="connsiteX3" fmla="*/ 12252873 w 24623857"/>
              <a:gd name="connsiteY3" fmla="*/ 6859979 h 13779830"/>
              <a:gd name="connsiteX4" fmla="*/ 6837064 w 24623857"/>
              <a:gd name="connsiteY4" fmla="*/ 1444169 h 13779830"/>
              <a:gd name="connsiteX5" fmla="*/ 0 w 24623857"/>
              <a:gd name="connsiteY5" fmla="*/ 91486 h 13779830"/>
              <a:gd name="connsiteX6" fmla="*/ 24619641 w 24623857"/>
              <a:gd name="connsiteY6" fmla="*/ 0 h 13779830"/>
              <a:gd name="connsiteX7" fmla="*/ 24623857 w 24623857"/>
              <a:gd name="connsiteY7" fmla="*/ 13775962 h 13779830"/>
              <a:gd name="connsiteX8" fmla="*/ 92091 w 24623857"/>
              <a:gd name="connsiteY8" fmla="*/ 13779830 h 13779830"/>
              <a:gd name="connsiteX9" fmla="*/ 0 w 24623857"/>
              <a:gd name="connsiteY9" fmla="*/ 91486 h 13779830"/>
              <a:gd name="connsiteX0" fmla="*/ 6837064 w 24623857"/>
              <a:gd name="connsiteY0" fmla="*/ 1444169 h 13779830"/>
              <a:gd name="connsiteX1" fmla="*/ 1421254 w 24623857"/>
              <a:gd name="connsiteY1" fmla="*/ 6859979 h 13779830"/>
              <a:gd name="connsiteX2" fmla="*/ 6837064 w 24623857"/>
              <a:gd name="connsiteY2" fmla="*/ 12275789 h 13779830"/>
              <a:gd name="connsiteX3" fmla="*/ 12252873 w 24623857"/>
              <a:gd name="connsiteY3" fmla="*/ 6859979 h 13779830"/>
              <a:gd name="connsiteX4" fmla="*/ 6837064 w 24623857"/>
              <a:gd name="connsiteY4" fmla="*/ 1444169 h 13779830"/>
              <a:gd name="connsiteX5" fmla="*/ 0 w 24623857"/>
              <a:gd name="connsiteY5" fmla="*/ 30494 h 13779830"/>
              <a:gd name="connsiteX6" fmla="*/ 24619641 w 24623857"/>
              <a:gd name="connsiteY6" fmla="*/ 0 h 13779830"/>
              <a:gd name="connsiteX7" fmla="*/ 24623857 w 24623857"/>
              <a:gd name="connsiteY7" fmla="*/ 13775962 h 13779830"/>
              <a:gd name="connsiteX8" fmla="*/ 92091 w 24623857"/>
              <a:gd name="connsiteY8" fmla="*/ 13779830 h 13779830"/>
              <a:gd name="connsiteX9" fmla="*/ 0 w 24623857"/>
              <a:gd name="connsiteY9" fmla="*/ 30494 h 13779830"/>
              <a:gd name="connsiteX0" fmla="*/ 6755298 w 24542091"/>
              <a:gd name="connsiteY0" fmla="*/ 1444169 h 13779830"/>
              <a:gd name="connsiteX1" fmla="*/ 1339488 w 24542091"/>
              <a:gd name="connsiteY1" fmla="*/ 6859979 h 13779830"/>
              <a:gd name="connsiteX2" fmla="*/ 6755298 w 24542091"/>
              <a:gd name="connsiteY2" fmla="*/ 12275789 h 13779830"/>
              <a:gd name="connsiteX3" fmla="*/ 12171107 w 24542091"/>
              <a:gd name="connsiteY3" fmla="*/ 6859979 h 13779830"/>
              <a:gd name="connsiteX4" fmla="*/ 6755298 w 24542091"/>
              <a:gd name="connsiteY4" fmla="*/ 1444169 h 13779830"/>
              <a:gd name="connsiteX5" fmla="*/ 0 w 24542091"/>
              <a:gd name="connsiteY5" fmla="*/ 50825 h 13779830"/>
              <a:gd name="connsiteX6" fmla="*/ 24537875 w 24542091"/>
              <a:gd name="connsiteY6" fmla="*/ 0 h 13779830"/>
              <a:gd name="connsiteX7" fmla="*/ 24542091 w 24542091"/>
              <a:gd name="connsiteY7" fmla="*/ 13775962 h 13779830"/>
              <a:gd name="connsiteX8" fmla="*/ 10325 w 24542091"/>
              <a:gd name="connsiteY8" fmla="*/ 13779830 h 13779830"/>
              <a:gd name="connsiteX9" fmla="*/ 0 w 24542091"/>
              <a:gd name="connsiteY9" fmla="*/ 50825 h 13779830"/>
              <a:gd name="connsiteX0" fmla="*/ 6746288 w 24533081"/>
              <a:gd name="connsiteY0" fmla="*/ 1444169 h 13779830"/>
              <a:gd name="connsiteX1" fmla="*/ 1330478 w 24533081"/>
              <a:gd name="connsiteY1" fmla="*/ 6859979 h 13779830"/>
              <a:gd name="connsiteX2" fmla="*/ 6746288 w 24533081"/>
              <a:gd name="connsiteY2" fmla="*/ 12275789 h 13779830"/>
              <a:gd name="connsiteX3" fmla="*/ 12162097 w 24533081"/>
              <a:gd name="connsiteY3" fmla="*/ 6859979 h 13779830"/>
              <a:gd name="connsiteX4" fmla="*/ 6746288 w 24533081"/>
              <a:gd name="connsiteY4" fmla="*/ 1444169 h 13779830"/>
              <a:gd name="connsiteX5" fmla="*/ 31873 w 24533081"/>
              <a:gd name="connsiteY5" fmla="*/ 50825 h 13779830"/>
              <a:gd name="connsiteX6" fmla="*/ 24528865 w 24533081"/>
              <a:gd name="connsiteY6" fmla="*/ 0 h 13779830"/>
              <a:gd name="connsiteX7" fmla="*/ 24533081 w 24533081"/>
              <a:gd name="connsiteY7" fmla="*/ 13775962 h 13779830"/>
              <a:gd name="connsiteX8" fmla="*/ 1315 w 24533081"/>
              <a:gd name="connsiteY8" fmla="*/ 13779830 h 13779830"/>
              <a:gd name="connsiteX9" fmla="*/ 31873 w 24533081"/>
              <a:gd name="connsiteY9" fmla="*/ 50825 h 13779830"/>
              <a:gd name="connsiteX0" fmla="*/ 6746288 w 24533081"/>
              <a:gd name="connsiteY0" fmla="*/ 1444169 h 13779830"/>
              <a:gd name="connsiteX1" fmla="*/ 1330478 w 24533081"/>
              <a:gd name="connsiteY1" fmla="*/ 6859979 h 13779830"/>
              <a:gd name="connsiteX2" fmla="*/ 6746288 w 24533081"/>
              <a:gd name="connsiteY2" fmla="*/ 12275789 h 13779830"/>
              <a:gd name="connsiteX3" fmla="*/ 12162097 w 24533081"/>
              <a:gd name="connsiteY3" fmla="*/ 6859979 h 13779830"/>
              <a:gd name="connsiteX4" fmla="*/ 6746288 w 24533081"/>
              <a:gd name="connsiteY4" fmla="*/ 1444169 h 13779830"/>
              <a:gd name="connsiteX5" fmla="*/ 31873 w 24533081"/>
              <a:gd name="connsiteY5" fmla="*/ 10163 h 13779830"/>
              <a:gd name="connsiteX6" fmla="*/ 24528865 w 24533081"/>
              <a:gd name="connsiteY6" fmla="*/ 0 h 13779830"/>
              <a:gd name="connsiteX7" fmla="*/ 24533081 w 24533081"/>
              <a:gd name="connsiteY7" fmla="*/ 13775962 h 13779830"/>
              <a:gd name="connsiteX8" fmla="*/ 1315 w 24533081"/>
              <a:gd name="connsiteY8" fmla="*/ 13779830 h 13779830"/>
              <a:gd name="connsiteX9" fmla="*/ 31873 w 24533081"/>
              <a:gd name="connsiteY9" fmla="*/ 10163 h 13779830"/>
              <a:gd name="connsiteX0" fmla="*/ 6746288 w 24533081"/>
              <a:gd name="connsiteY0" fmla="*/ 1494998 h 13830659"/>
              <a:gd name="connsiteX1" fmla="*/ 1330478 w 24533081"/>
              <a:gd name="connsiteY1" fmla="*/ 6910808 h 13830659"/>
              <a:gd name="connsiteX2" fmla="*/ 6746288 w 24533081"/>
              <a:gd name="connsiteY2" fmla="*/ 12326618 h 13830659"/>
              <a:gd name="connsiteX3" fmla="*/ 12162097 w 24533081"/>
              <a:gd name="connsiteY3" fmla="*/ 6910808 h 13830659"/>
              <a:gd name="connsiteX4" fmla="*/ 6746288 w 24533081"/>
              <a:gd name="connsiteY4" fmla="*/ 1494998 h 13830659"/>
              <a:gd name="connsiteX5" fmla="*/ 31873 w 24533081"/>
              <a:gd name="connsiteY5" fmla="*/ 0 h 13830659"/>
              <a:gd name="connsiteX6" fmla="*/ 24528865 w 24533081"/>
              <a:gd name="connsiteY6" fmla="*/ 50829 h 13830659"/>
              <a:gd name="connsiteX7" fmla="*/ 24533081 w 24533081"/>
              <a:gd name="connsiteY7" fmla="*/ 13826791 h 13830659"/>
              <a:gd name="connsiteX8" fmla="*/ 1315 w 24533081"/>
              <a:gd name="connsiteY8" fmla="*/ 13830659 h 13830659"/>
              <a:gd name="connsiteX9" fmla="*/ 31873 w 24533081"/>
              <a:gd name="connsiteY9" fmla="*/ 0 h 13830659"/>
              <a:gd name="connsiteX0" fmla="*/ 6746288 w 24533081"/>
              <a:gd name="connsiteY0" fmla="*/ 1444169 h 13779830"/>
              <a:gd name="connsiteX1" fmla="*/ 1330478 w 24533081"/>
              <a:gd name="connsiteY1" fmla="*/ 6859979 h 13779830"/>
              <a:gd name="connsiteX2" fmla="*/ 6746288 w 24533081"/>
              <a:gd name="connsiteY2" fmla="*/ 12275789 h 13779830"/>
              <a:gd name="connsiteX3" fmla="*/ 12162097 w 24533081"/>
              <a:gd name="connsiteY3" fmla="*/ 6859979 h 13779830"/>
              <a:gd name="connsiteX4" fmla="*/ 6746288 w 24533081"/>
              <a:gd name="connsiteY4" fmla="*/ 1444169 h 13779830"/>
              <a:gd name="connsiteX5" fmla="*/ 31873 w 24533081"/>
              <a:gd name="connsiteY5" fmla="*/ 10163 h 13779830"/>
              <a:gd name="connsiteX6" fmla="*/ 24528865 w 24533081"/>
              <a:gd name="connsiteY6" fmla="*/ 0 h 13779830"/>
              <a:gd name="connsiteX7" fmla="*/ 24533081 w 24533081"/>
              <a:gd name="connsiteY7" fmla="*/ 13775962 h 13779830"/>
              <a:gd name="connsiteX8" fmla="*/ 1315 w 24533081"/>
              <a:gd name="connsiteY8" fmla="*/ 13779830 h 13779830"/>
              <a:gd name="connsiteX9" fmla="*/ 31873 w 24533081"/>
              <a:gd name="connsiteY9" fmla="*/ 10163 h 13779830"/>
              <a:gd name="connsiteX0" fmla="*/ 6775739 w 24562532"/>
              <a:gd name="connsiteY0" fmla="*/ 1444169 h 13779830"/>
              <a:gd name="connsiteX1" fmla="*/ 1359929 w 24562532"/>
              <a:gd name="connsiteY1" fmla="*/ 6859979 h 13779830"/>
              <a:gd name="connsiteX2" fmla="*/ 6775739 w 24562532"/>
              <a:gd name="connsiteY2" fmla="*/ 12275789 h 13779830"/>
              <a:gd name="connsiteX3" fmla="*/ 12191548 w 24562532"/>
              <a:gd name="connsiteY3" fmla="*/ 6859979 h 13779830"/>
              <a:gd name="connsiteX4" fmla="*/ 6775739 w 24562532"/>
              <a:gd name="connsiteY4" fmla="*/ 1444169 h 13779830"/>
              <a:gd name="connsiteX5" fmla="*/ 0 w 24562532"/>
              <a:gd name="connsiteY5" fmla="*/ 50825 h 13779830"/>
              <a:gd name="connsiteX6" fmla="*/ 24558316 w 24562532"/>
              <a:gd name="connsiteY6" fmla="*/ 0 h 13779830"/>
              <a:gd name="connsiteX7" fmla="*/ 24562532 w 24562532"/>
              <a:gd name="connsiteY7" fmla="*/ 13775962 h 13779830"/>
              <a:gd name="connsiteX8" fmla="*/ 30766 w 24562532"/>
              <a:gd name="connsiteY8" fmla="*/ 13779830 h 13779830"/>
              <a:gd name="connsiteX9" fmla="*/ 0 w 24562532"/>
              <a:gd name="connsiteY9" fmla="*/ 50825 h 1377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562532" h="13779830">
                <a:moveTo>
                  <a:pt x="6775739" y="1444169"/>
                </a:moveTo>
                <a:cubicBezTo>
                  <a:pt x="3784669" y="1444169"/>
                  <a:pt x="1359929" y="3868911"/>
                  <a:pt x="1359929" y="6859979"/>
                </a:cubicBezTo>
                <a:cubicBezTo>
                  <a:pt x="1359929" y="9851048"/>
                  <a:pt x="3784669" y="12275789"/>
                  <a:pt x="6775739" y="12275789"/>
                </a:cubicBezTo>
                <a:cubicBezTo>
                  <a:pt x="9766808" y="12275789"/>
                  <a:pt x="12191548" y="9851048"/>
                  <a:pt x="12191548" y="6859979"/>
                </a:cubicBezTo>
                <a:cubicBezTo>
                  <a:pt x="12191548" y="3868911"/>
                  <a:pt x="9766808" y="1444169"/>
                  <a:pt x="6775739" y="1444169"/>
                </a:cubicBezTo>
                <a:close/>
                <a:moveTo>
                  <a:pt x="0" y="50825"/>
                </a:moveTo>
                <a:lnTo>
                  <a:pt x="24558316" y="0"/>
                </a:lnTo>
                <a:cubicBezTo>
                  <a:pt x="24568309" y="4581994"/>
                  <a:pt x="24552539" y="9193968"/>
                  <a:pt x="24562532" y="13775962"/>
                </a:cubicBezTo>
                <a:lnTo>
                  <a:pt x="30766" y="13779830"/>
                </a:lnTo>
                <a:cubicBezTo>
                  <a:pt x="20773" y="9267791"/>
                  <a:pt x="9993" y="4562864"/>
                  <a:pt x="0" y="50825"/>
                </a:cubicBezTo>
                <a:close/>
              </a:path>
            </a:pathLst>
          </a:custGeom>
          <a:gradFill>
            <a:gsLst>
              <a:gs pos="0">
                <a:srgbClr val="50ABA0">
                  <a:alpha val="85882"/>
                </a:srgbClr>
              </a:gs>
              <a:gs pos="100000">
                <a:schemeClr val="tx2"/>
              </a:gs>
            </a:gsLst>
            <a:lin ang="13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9" name="Oval 8">
            <a:extLst>
              <a:ext uri="{FF2B5EF4-FFF2-40B4-BE49-F238E27FC236}">
                <a16:creationId xmlns:a16="http://schemas.microsoft.com/office/drawing/2014/main" id="{C93B4756-49A3-6B4C-87C7-7A49AAF41DDA}"/>
              </a:ext>
            </a:extLst>
          </p:cNvPr>
          <p:cNvSpPr/>
          <p:nvPr userDrawn="1"/>
        </p:nvSpPr>
        <p:spPr>
          <a:xfrm>
            <a:off x="386354" y="469746"/>
            <a:ext cx="5895774" cy="5895774"/>
          </a:xfrm>
          <a:prstGeom prst="ellipse">
            <a:avLst/>
          </a:prstGeom>
          <a:noFill/>
          <a:ln>
            <a:solidFill>
              <a:srgbClr val="9ACFC8">
                <a:alpha val="31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0" name="Oval 9">
            <a:extLst>
              <a:ext uri="{FF2B5EF4-FFF2-40B4-BE49-F238E27FC236}">
                <a16:creationId xmlns:a16="http://schemas.microsoft.com/office/drawing/2014/main" id="{C6DCF5E5-FCB2-4143-AF7D-178EEBB8D42E}"/>
              </a:ext>
            </a:extLst>
          </p:cNvPr>
          <p:cNvSpPr/>
          <p:nvPr userDrawn="1"/>
        </p:nvSpPr>
        <p:spPr>
          <a:xfrm>
            <a:off x="201944" y="276454"/>
            <a:ext cx="6305091" cy="6305091"/>
          </a:xfrm>
          <a:prstGeom prst="ellipse">
            <a:avLst/>
          </a:prstGeom>
          <a:noFill/>
          <a:ln>
            <a:solidFill>
              <a:schemeClr val="tx2">
                <a:lumMod val="20000"/>
                <a:lumOff val="80000"/>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2" name="Title 1">
            <a:extLst>
              <a:ext uri="{FF2B5EF4-FFF2-40B4-BE49-F238E27FC236}">
                <a16:creationId xmlns:a16="http://schemas.microsoft.com/office/drawing/2014/main" id="{F6FCFD60-BD6A-2244-8823-7C72526A28A2}"/>
              </a:ext>
            </a:extLst>
          </p:cNvPr>
          <p:cNvSpPr>
            <a:spLocks noGrp="1"/>
          </p:cNvSpPr>
          <p:nvPr>
            <p:ph type="ctrTitle" hasCustomPrompt="1"/>
          </p:nvPr>
        </p:nvSpPr>
        <p:spPr>
          <a:xfrm>
            <a:off x="7180297" y="2493968"/>
            <a:ext cx="4167057" cy="724999"/>
          </a:xfrm>
        </p:spPr>
        <p:txBody>
          <a:bodyPr>
            <a:normAutofit/>
          </a:bodyPr>
          <a:lstStyle>
            <a:lvl1pPr algn="l">
              <a:defRPr sz="4800" b="1">
                <a:solidFill>
                  <a:schemeClr val="bg1"/>
                </a:solidFill>
                <a:latin typeface="+mn-lt"/>
              </a:defRPr>
            </a:lvl1pPr>
          </a:lstStyle>
          <a:p>
            <a:r>
              <a:rPr lang="en-US" dirty="0"/>
              <a:t>Transition</a:t>
            </a:r>
          </a:p>
        </p:txBody>
      </p:sp>
      <p:sp>
        <p:nvSpPr>
          <p:cNvPr id="13" name="Subtitle 2" hidden="1">
            <a:extLst>
              <a:ext uri="{FF2B5EF4-FFF2-40B4-BE49-F238E27FC236}">
                <a16:creationId xmlns:a16="http://schemas.microsoft.com/office/drawing/2014/main" id="{674C907D-C559-1442-BB91-D939050B5C2E}"/>
              </a:ext>
            </a:extLst>
          </p:cNvPr>
          <p:cNvSpPr>
            <a:spLocks noGrp="1"/>
          </p:cNvSpPr>
          <p:nvPr>
            <p:ph type="subTitle" idx="1" hasCustomPrompt="1"/>
          </p:nvPr>
        </p:nvSpPr>
        <p:spPr>
          <a:xfrm>
            <a:off x="7180477" y="3233111"/>
            <a:ext cx="4167057" cy="514320"/>
          </a:xfrm>
          <a:prstGeom prst="rect">
            <a:avLst/>
          </a:prstGeom>
        </p:spPr>
        <p:txBody>
          <a:bodyPr>
            <a:noAutofit/>
          </a:bodyPr>
          <a:lstStyle>
            <a:lvl1pPr marL="0" indent="0" algn="l">
              <a:buNone/>
              <a:defRPr sz="2800"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ubtitle</a:t>
            </a:r>
          </a:p>
        </p:txBody>
      </p:sp>
      <p:sp>
        <p:nvSpPr>
          <p:cNvPr id="14" name="Text Placeholder 27">
            <a:extLst>
              <a:ext uri="{FF2B5EF4-FFF2-40B4-BE49-F238E27FC236}">
                <a16:creationId xmlns:a16="http://schemas.microsoft.com/office/drawing/2014/main" id="{55D73E68-6CC9-9C48-8571-B060186A41C8}"/>
              </a:ext>
            </a:extLst>
          </p:cNvPr>
          <p:cNvSpPr>
            <a:spLocks noGrp="1"/>
          </p:cNvSpPr>
          <p:nvPr>
            <p:ph type="body" sz="quarter" idx="11" hasCustomPrompt="1"/>
          </p:nvPr>
        </p:nvSpPr>
        <p:spPr>
          <a:xfrm>
            <a:off x="7180289" y="3747541"/>
            <a:ext cx="4167265" cy="1903751"/>
          </a:xfrm>
          <a:prstGeom prst="rect">
            <a:avLst/>
          </a:prstGeom>
        </p:spPr>
        <p:txBody>
          <a:bodyPr>
            <a:noAutofit/>
          </a:bodyPr>
          <a:lstStyle>
            <a:lvl1pPr marL="0" indent="0">
              <a:lnSpc>
                <a:spcPct val="100000"/>
              </a:lnSpc>
              <a:spcBef>
                <a:spcPts val="0"/>
              </a:spcBef>
              <a:buNone/>
              <a:defRPr sz="1800">
                <a:solidFill>
                  <a:schemeClr val="bg1"/>
                </a:solidFill>
              </a:defRPr>
            </a:lvl1pPr>
          </a:lstStyle>
          <a:p>
            <a:pPr lvl="0"/>
            <a:r>
              <a:rPr lang="en-US" dirty="0"/>
              <a:t>Text</a:t>
            </a:r>
          </a:p>
          <a:p>
            <a:pPr lvl="0"/>
            <a:r>
              <a:rPr lang="en-US" dirty="0"/>
              <a:t>Line 2</a:t>
            </a:r>
          </a:p>
          <a:p>
            <a:pPr lvl="0"/>
            <a:r>
              <a:rPr lang="en-US" dirty="0"/>
              <a:t>Line 3</a:t>
            </a:r>
          </a:p>
          <a:p>
            <a:pPr lvl="0"/>
            <a:r>
              <a:rPr lang="en-US" dirty="0"/>
              <a:t>Line 4</a:t>
            </a:r>
          </a:p>
          <a:p>
            <a:pPr lvl="0"/>
            <a:r>
              <a:rPr lang="en-US" dirty="0"/>
              <a:t>Line 5</a:t>
            </a:r>
          </a:p>
        </p:txBody>
      </p:sp>
    </p:spTree>
    <p:extLst>
      <p:ext uri="{BB962C8B-B14F-4D97-AF65-F5344CB8AC3E}">
        <p14:creationId xmlns:p14="http://schemas.microsoft.com/office/powerpoint/2010/main" val="2869346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_Cover Option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08265" y="1069465"/>
            <a:ext cx="3601587" cy="712893"/>
          </a:xfrm>
        </p:spPr>
        <p:txBody>
          <a:bodyPr>
            <a:normAutofit/>
          </a:bodyPr>
          <a:lstStyle>
            <a:lvl1pPr algn="l">
              <a:defRPr sz="5067" b="1">
                <a:solidFill>
                  <a:schemeClr val="bg1"/>
                </a:solidFill>
                <a:latin typeface="+mn-lt"/>
              </a:defRPr>
            </a:lvl1pPr>
          </a:lstStyle>
          <a:p>
            <a:r>
              <a:rPr lang="en-US" dirty="0"/>
              <a:t>Thank You!</a:t>
            </a:r>
          </a:p>
        </p:txBody>
      </p:sp>
      <p:sp>
        <p:nvSpPr>
          <p:cNvPr id="26" name="Trapezoid 5">
            <a:extLst>
              <a:ext uri="{FF2B5EF4-FFF2-40B4-BE49-F238E27FC236}">
                <a16:creationId xmlns:a16="http://schemas.microsoft.com/office/drawing/2014/main" id="{72F83640-6433-1F4E-A2E6-8F9662D4DCDB}"/>
              </a:ext>
            </a:extLst>
          </p:cNvPr>
          <p:cNvSpPr/>
          <p:nvPr userDrawn="1"/>
        </p:nvSpPr>
        <p:spPr>
          <a:xfrm rot="10800000">
            <a:off x="3992211" y="-11575"/>
            <a:ext cx="5744051" cy="6869576"/>
          </a:xfrm>
          <a:custGeom>
            <a:avLst/>
            <a:gdLst>
              <a:gd name="connsiteX0" fmla="*/ 0 w 9601200"/>
              <a:gd name="connsiteY0" fmla="*/ 6869576 h 6869576"/>
              <a:gd name="connsiteX1" fmla="*/ 1717394 w 9601200"/>
              <a:gd name="connsiteY1" fmla="*/ 0 h 6869576"/>
              <a:gd name="connsiteX2" fmla="*/ 7883806 w 9601200"/>
              <a:gd name="connsiteY2" fmla="*/ 0 h 6869576"/>
              <a:gd name="connsiteX3" fmla="*/ 9601200 w 9601200"/>
              <a:gd name="connsiteY3" fmla="*/ 6869576 h 6869576"/>
              <a:gd name="connsiteX4" fmla="*/ 0 w 9601200"/>
              <a:gd name="connsiteY4" fmla="*/ 6869576 h 6869576"/>
              <a:gd name="connsiteX0" fmla="*/ 0 w 9611006"/>
              <a:gd name="connsiteY0" fmla="*/ 6869576 h 6869576"/>
              <a:gd name="connsiteX1" fmla="*/ 1717394 w 9611006"/>
              <a:gd name="connsiteY1" fmla="*/ 0 h 6869576"/>
              <a:gd name="connsiteX2" fmla="*/ 9611006 w 9611006"/>
              <a:gd name="connsiteY2" fmla="*/ 0 h 6869576"/>
              <a:gd name="connsiteX3" fmla="*/ 9601200 w 9611006"/>
              <a:gd name="connsiteY3" fmla="*/ 6869576 h 6869576"/>
              <a:gd name="connsiteX4" fmla="*/ 0 w 9611006"/>
              <a:gd name="connsiteY4" fmla="*/ 6869576 h 6869576"/>
              <a:gd name="connsiteX0" fmla="*/ 0 w 9611006"/>
              <a:gd name="connsiteY0" fmla="*/ 6869576 h 6869576"/>
              <a:gd name="connsiteX1" fmla="*/ 777594 w 9611006"/>
              <a:gd name="connsiteY1" fmla="*/ 0 h 6869576"/>
              <a:gd name="connsiteX2" fmla="*/ 9611006 w 9611006"/>
              <a:gd name="connsiteY2" fmla="*/ 0 h 6869576"/>
              <a:gd name="connsiteX3" fmla="*/ 9601200 w 9611006"/>
              <a:gd name="connsiteY3" fmla="*/ 6869576 h 6869576"/>
              <a:gd name="connsiteX4" fmla="*/ 0 w 9611006"/>
              <a:gd name="connsiteY4" fmla="*/ 6869576 h 6869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11006" h="6869576">
                <a:moveTo>
                  <a:pt x="0" y="6869576"/>
                </a:moveTo>
                <a:lnTo>
                  <a:pt x="777594" y="0"/>
                </a:lnTo>
                <a:lnTo>
                  <a:pt x="9611006" y="0"/>
                </a:lnTo>
                <a:cubicBezTo>
                  <a:pt x="9607737" y="2289859"/>
                  <a:pt x="9604469" y="4579717"/>
                  <a:pt x="9601200" y="6869576"/>
                </a:cubicBezTo>
                <a:lnTo>
                  <a:pt x="0" y="6869576"/>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rapezoid 5">
            <a:extLst>
              <a:ext uri="{FF2B5EF4-FFF2-40B4-BE49-F238E27FC236}">
                <a16:creationId xmlns:a16="http://schemas.microsoft.com/office/drawing/2014/main" id="{A93719EF-6C3A-6E44-9C2A-9C731ECE8637}"/>
              </a:ext>
            </a:extLst>
          </p:cNvPr>
          <p:cNvSpPr/>
          <p:nvPr userDrawn="1"/>
        </p:nvSpPr>
        <p:spPr>
          <a:xfrm rot="10800000">
            <a:off x="-15798" y="-11576"/>
            <a:ext cx="9743998" cy="6869576"/>
          </a:xfrm>
          <a:custGeom>
            <a:avLst/>
            <a:gdLst>
              <a:gd name="connsiteX0" fmla="*/ 0 w 9601200"/>
              <a:gd name="connsiteY0" fmla="*/ 6869576 h 6869576"/>
              <a:gd name="connsiteX1" fmla="*/ 1717394 w 9601200"/>
              <a:gd name="connsiteY1" fmla="*/ 0 h 6869576"/>
              <a:gd name="connsiteX2" fmla="*/ 7883806 w 9601200"/>
              <a:gd name="connsiteY2" fmla="*/ 0 h 6869576"/>
              <a:gd name="connsiteX3" fmla="*/ 9601200 w 9601200"/>
              <a:gd name="connsiteY3" fmla="*/ 6869576 h 6869576"/>
              <a:gd name="connsiteX4" fmla="*/ 0 w 9601200"/>
              <a:gd name="connsiteY4" fmla="*/ 6869576 h 6869576"/>
              <a:gd name="connsiteX0" fmla="*/ 0 w 9611006"/>
              <a:gd name="connsiteY0" fmla="*/ 6869576 h 6869576"/>
              <a:gd name="connsiteX1" fmla="*/ 1717394 w 9611006"/>
              <a:gd name="connsiteY1" fmla="*/ 0 h 6869576"/>
              <a:gd name="connsiteX2" fmla="*/ 9611006 w 9611006"/>
              <a:gd name="connsiteY2" fmla="*/ 0 h 6869576"/>
              <a:gd name="connsiteX3" fmla="*/ 9601200 w 9611006"/>
              <a:gd name="connsiteY3" fmla="*/ 6869576 h 6869576"/>
              <a:gd name="connsiteX4" fmla="*/ 0 w 9611006"/>
              <a:gd name="connsiteY4" fmla="*/ 6869576 h 6869576"/>
              <a:gd name="connsiteX0" fmla="*/ 0 w 9611006"/>
              <a:gd name="connsiteY0" fmla="*/ 6869576 h 6869576"/>
              <a:gd name="connsiteX1" fmla="*/ 777594 w 9611006"/>
              <a:gd name="connsiteY1" fmla="*/ 0 h 6869576"/>
              <a:gd name="connsiteX2" fmla="*/ 9611006 w 9611006"/>
              <a:gd name="connsiteY2" fmla="*/ 0 h 6869576"/>
              <a:gd name="connsiteX3" fmla="*/ 9601200 w 9611006"/>
              <a:gd name="connsiteY3" fmla="*/ 6869576 h 6869576"/>
              <a:gd name="connsiteX4" fmla="*/ 0 w 9611006"/>
              <a:gd name="connsiteY4" fmla="*/ 6869576 h 6869576"/>
              <a:gd name="connsiteX0" fmla="*/ 0 w 9638997"/>
              <a:gd name="connsiteY0" fmla="*/ 6869576 h 6869576"/>
              <a:gd name="connsiteX1" fmla="*/ 777594 w 9638997"/>
              <a:gd name="connsiteY1" fmla="*/ 0 h 6869576"/>
              <a:gd name="connsiteX2" fmla="*/ 9611006 w 9638997"/>
              <a:gd name="connsiteY2" fmla="*/ 0 h 6869576"/>
              <a:gd name="connsiteX3" fmla="*/ 9638778 w 9638997"/>
              <a:gd name="connsiteY3" fmla="*/ 6869576 h 6869576"/>
              <a:gd name="connsiteX4" fmla="*/ 0 w 9638997"/>
              <a:gd name="connsiteY4" fmla="*/ 6869576 h 6869576"/>
              <a:gd name="connsiteX0" fmla="*/ 0 w 9626587"/>
              <a:gd name="connsiteY0" fmla="*/ 6869576 h 6869576"/>
              <a:gd name="connsiteX1" fmla="*/ 777594 w 9626587"/>
              <a:gd name="connsiteY1" fmla="*/ 0 h 6869576"/>
              <a:gd name="connsiteX2" fmla="*/ 9611006 w 9626587"/>
              <a:gd name="connsiteY2" fmla="*/ 0 h 6869576"/>
              <a:gd name="connsiteX3" fmla="*/ 9626252 w 9626587"/>
              <a:gd name="connsiteY3" fmla="*/ 6869576 h 6869576"/>
              <a:gd name="connsiteX4" fmla="*/ 0 w 9626587"/>
              <a:gd name="connsiteY4" fmla="*/ 6869576 h 6869576"/>
              <a:gd name="connsiteX0" fmla="*/ 0 w 9611006"/>
              <a:gd name="connsiteY0" fmla="*/ 6869576 h 6869576"/>
              <a:gd name="connsiteX1" fmla="*/ 777594 w 9611006"/>
              <a:gd name="connsiteY1" fmla="*/ 0 h 6869576"/>
              <a:gd name="connsiteX2" fmla="*/ 9611006 w 9611006"/>
              <a:gd name="connsiteY2" fmla="*/ 0 h 6869576"/>
              <a:gd name="connsiteX3" fmla="*/ 9588675 w 9611006"/>
              <a:gd name="connsiteY3" fmla="*/ 6856876 h 6869576"/>
              <a:gd name="connsiteX4" fmla="*/ 0 w 9611006"/>
              <a:gd name="connsiteY4" fmla="*/ 6869576 h 6869576"/>
              <a:gd name="connsiteX0" fmla="*/ 0 w 9626587"/>
              <a:gd name="connsiteY0" fmla="*/ 6869576 h 6869576"/>
              <a:gd name="connsiteX1" fmla="*/ 777594 w 9626587"/>
              <a:gd name="connsiteY1" fmla="*/ 0 h 6869576"/>
              <a:gd name="connsiteX2" fmla="*/ 9611006 w 9626587"/>
              <a:gd name="connsiteY2" fmla="*/ 0 h 6869576"/>
              <a:gd name="connsiteX3" fmla="*/ 9626252 w 9626587"/>
              <a:gd name="connsiteY3" fmla="*/ 6856876 h 6869576"/>
              <a:gd name="connsiteX4" fmla="*/ 0 w 9626587"/>
              <a:gd name="connsiteY4" fmla="*/ 6869576 h 6869576"/>
              <a:gd name="connsiteX0" fmla="*/ 0 w 9626587"/>
              <a:gd name="connsiteY0" fmla="*/ 6869576 h 6882276"/>
              <a:gd name="connsiteX1" fmla="*/ 777594 w 9626587"/>
              <a:gd name="connsiteY1" fmla="*/ 0 h 6882276"/>
              <a:gd name="connsiteX2" fmla="*/ 9611006 w 9626587"/>
              <a:gd name="connsiteY2" fmla="*/ 0 h 6882276"/>
              <a:gd name="connsiteX3" fmla="*/ 9626252 w 9626587"/>
              <a:gd name="connsiteY3" fmla="*/ 6882276 h 6882276"/>
              <a:gd name="connsiteX4" fmla="*/ 0 w 9626587"/>
              <a:gd name="connsiteY4" fmla="*/ 6869576 h 6882276"/>
              <a:gd name="connsiteX0" fmla="*/ 0 w 9626587"/>
              <a:gd name="connsiteY0" fmla="*/ 6869576 h 6869576"/>
              <a:gd name="connsiteX1" fmla="*/ 777594 w 9626587"/>
              <a:gd name="connsiteY1" fmla="*/ 0 h 6869576"/>
              <a:gd name="connsiteX2" fmla="*/ 9611006 w 9626587"/>
              <a:gd name="connsiteY2" fmla="*/ 0 h 6869576"/>
              <a:gd name="connsiteX3" fmla="*/ 9626252 w 9626587"/>
              <a:gd name="connsiteY3" fmla="*/ 6844176 h 6869576"/>
              <a:gd name="connsiteX4" fmla="*/ 0 w 9626587"/>
              <a:gd name="connsiteY4" fmla="*/ 6869576 h 6869576"/>
              <a:gd name="connsiteX0" fmla="*/ 0 w 9626587"/>
              <a:gd name="connsiteY0" fmla="*/ 6869576 h 6869576"/>
              <a:gd name="connsiteX1" fmla="*/ 777594 w 9626587"/>
              <a:gd name="connsiteY1" fmla="*/ 0 h 6869576"/>
              <a:gd name="connsiteX2" fmla="*/ 9611006 w 9626587"/>
              <a:gd name="connsiteY2" fmla="*/ 0 h 6869576"/>
              <a:gd name="connsiteX3" fmla="*/ 9626252 w 9626587"/>
              <a:gd name="connsiteY3" fmla="*/ 6856876 h 6869576"/>
              <a:gd name="connsiteX4" fmla="*/ 0 w 9626587"/>
              <a:gd name="connsiteY4" fmla="*/ 6869576 h 6869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6587" h="6869576">
                <a:moveTo>
                  <a:pt x="0" y="6869576"/>
                </a:moveTo>
                <a:lnTo>
                  <a:pt x="777594" y="0"/>
                </a:lnTo>
                <a:lnTo>
                  <a:pt x="9611006" y="0"/>
                </a:lnTo>
                <a:cubicBezTo>
                  <a:pt x="9607737" y="2289859"/>
                  <a:pt x="9629521" y="4567017"/>
                  <a:pt x="9626252" y="6856876"/>
                </a:cubicBezTo>
                <a:lnTo>
                  <a:pt x="0" y="6869576"/>
                </a:lnTo>
                <a:close/>
              </a:path>
            </a:pathLst>
          </a:custGeom>
          <a:gradFill>
            <a:gsLst>
              <a:gs pos="0">
                <a:schemeClr val="tx2"/>
              </a:gs>
              <a:gs pos="99000">
                <a:srgbClr val="50ABA0"/>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a:xfrm>
            <a:off x="908085" y="2547547"/>
            <a:ext cx="6611424" cy="505732"/>
          </a:xfrm>
          <a:prstGeom prst="rect">
            <a:avLst/>
          </a:prstGeom>
        </p:spPr>
        <p:txBody>
          <a:bodyPr>
            <a:noAutofit/>
          </a:bodyPr>
          <a:lstStyle>
            <a:lvl1pPr marL="0" indent="0" algn="l">
              <a:buNone/>
              <a:defRPr sz="4000"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Alternative transition</a:t>
            </a:r>
          </a:p>
        </p:txBody>
      </p:sp>
      <p:sp>
        <p:nvSpPr>
          <p:cNvPr id="28" name="Text Placeholder 27">
            <a:extLst>
              <a:ext uri="{FF2B5EF4-FFF2-40B4-BE49-F238E27FC236}">
                <a16:creationId xmlns:a16="http://schemas.microsoft.com/office/drawing/2014/main" id="{613233A7-B7CC-1341-B559-6120252D8B7A}"/>
              </a:ext>
            </a:extLst>
          </p:cNvPr>
          <p:cNvSpPr>
            <a:spLocks noGrp="1"/>
          </p:cNvSpPr>
          <p:nvPr>
            <p:ph type="body" sz="quarter" idx="10" hasCustomPrompt="1"/>
          </p:nvPr>
        </p:nvSpPr>
        <p:spPr>
          <a:xfrm>
            <a:off x="908085" y="3376875"/>
            <a:ext cx="6611603" cy="433551"/>
          </a:xfrm>
          <a:prstGeom prst="rect">
            <a:avLst/>
          </a:prstGeom>
        </p:spPr>
        <p:txBody>
          <a:bodyPr>
            <a:noAutofit/>
          </a:bodyPr>
          <a:lstStyle>
            <a:lvl1pPr marL="0" indent="0">
              <a:buNone/>
              <a:defRPr sz="2400">
                <a:solidFill>
                  <a:schemeClr val="bg2"/>
                </a:solidFill>
              </a:defRPr>
            </a:lvl1pPr>
          </a:lstStyle>
          <a:p>
            <a:pPr lvl="0"/>
            <a:r>
              <a:rPr lang="en-US" dirty="0"/>
              <a:t>More text</a:t>
            </a:r>
          </a:p>
        </p:txBody>
      </p:sp>
      <p:sp>
        <p:nvSpPr>
          <p:cNvPr id="11" name="TextBox 10">
            <a:extLst>
              <a:ext uri="{FF2B5EF4-FFF2-40B4-BE49-F238E27FC236}">
                <a16:creationId xmlns:a16="http://schemas.microsoft.com/office/drawing/2014/main" id="{1BD3E64A-1EE5-6A41-BA58-89EF828D48F2}"/>
              </a:ext>
            </a:extLst>
          </p:cNvPr>
          <p:cNvSpPr txBox="1"/>
          <p:nvPr userDrawn="1"/>
        </p:nvSpPr>
        <p:spPr>
          <a:xfrm>
            <a:off x="8646289" y="4988689"/>
            <a:ext cx="184731" cy="369332"/>
          </a:xfrm>
          <a:prstGeom prst="rect">
            <a:avLst/>
          </a:prstGeom>
          <a:noFill/>
        </p:spPr>
        <p:txBody>
          <a:bodyPr wrap="none" rtlCol="0">
            <a:spAutoFit/>
          </a:bodyPr>
          <a:lstStyle/>
          <a:p>
            <a:endParaRPr lang="en-US" dirty="0"/>
          </a:p>
        </p:txBody>
      </p:sp>
      <p:pic>
        <p:nvPicPr>
          <p:cNvPr id="31" name="Picture 30">
            <a:extLst>
              <a:ext uri="{FF2B5EF4-FFF2-40B4-BE49-F238E27FC236}">
                <a16:creationId xmlns:a16="http://schemas.microsoft.com/office/drawing/2014/main" id="{2B08C55C-D0CF-724B-B4EE-8E072E7B5C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96546" y="299377"/>
            <a:ext cx="1288232" cy="1288232"/>
          </a:xfrm>
          <a:prstGeom prst="rect">
            <a:avLst/>
          </a:prstGeom>
        </p:spPr>
      </p:pic>
    </p:spTree>
    <p:extLst>
      <p:ext uri="{BB962C8B-B14F-4D97-AF65-F5344CB8AC3E}">
        <p14:creationId xmlns:p14="http://schemas.microsoft.com/office/powerpoint/2010/main" val="547161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Cover Option2">
    <p:bg>
      <p:bgPr>
        <a:gradFill>
          <a:gsLst>
            <a:gs pos="0">
              <a:srgbClr val="00B8B0"/>
            </a:gs>
            <a:gs pos="100000">
              <a:schemeClr val="tx2"/>
            </a:gs>
          </a:gsLst>
          <a:lin ang="135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82754" y="2144364"/>
            <a:ext cx="3601587" cy="712893"/>
          </a:xfrm>
        </p:spPr>
        <p:txBody>
          <a:bodyPr>
            <a:normAutofit/>
          </a:bodyPr>
          <a:lstStyle>
            <a:lvl1pPr algn="l">
              <a:defRPr sz="4800" b="1">
                <a:solidFill>
                  <a:schemeClr val="bg1"/>
                </a:solidFill>
                <a:latin typeface="+mn-lt"/>
              </a:defRPr>
            </a:lvl1pPr>
          </a:lstStyle>
          <a:p>
            <a:r>
              <a:rPr lang="en-US" dirty="0"/>
              <a:t>Questions</a:t>
            </a:r>
          </a:p>
        </p:txBody>
      </p:sp>
      <p:sp>
        <p:nvSpPr>
          <p:cNvPr id="3" name="Subtitle 2"/>
          <p:cNvSpPr>
            <a:spLocks noGrp="1"/>
          </p:cNvSpPr>
          <p:nvPr>
            <p:ph type="subTitle" idx="1" hasCustomPrompt="1"/>
          </p:nvPr>
        </p:nvSpPr>
        <p:spPr>
          <a:xfrm>
            <a:off x="5482754" y="3176134"/>
            <a:ext cx="6159120" cy="505732"/>
          </a:xfrm>
          <a:prstGeom prst="rect">
            <a:avLst/>
          </a:prstGeom>
        </p:spPr>
        <p:txBody>
          <a:bodyPr>
            <a:normAutofit/>
          </a:bodyPr>
          <a:lstStyle>
            <a:lvl1pPr marL="0" indent="0" algn="l">
              <a:buNone/>
              <a:defRPr sz="2800" b="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Name</a:t>
            </a:r>
          </a:p>
        </p:txBody>
      </p:sp>
      <p:sp>
        <p:nvSpPr>
          <p:cNvPr id="4" name="TextBox 3"/>
          <p:cNvSpPr txBox="1"/>
          <p:nvPr userDrawn="1"/>
        </p:nvSpPr>
        <p:spPr>
          <a:xfrm>
            <a:off x="5374887" y="5999184"/>
            <a:ext cx="6266975" cy="646331"/>
          </a:xfrm>
          <a:prstGeom prst="rect">
            <a:avLst/>
          </a:prstGeom>
          <a:noFill/>
        </p:spPr>
        <p:txBody>
          <a:bodyPr wrap="square" rtlCol="0">
            <a:spAutoFit/>
          </a:bodyPr>
          <a:lstStyle/>
          <a:p>
            <a:r>
              <a:rPr lang="en-US" sz="900" kern="1200" dirty="0">
                <a:solidFill>
                  <a:schemeClr val="bg1"/>
                </a:solidFill>
                <a:effectLst/>
                <a:latin typeface="+mn-lt"/>
                <a:ea typeface="+mn-ea"/>
                <a:cs typeface="+mn-cs"/>
              </a:rPr>
              <a:t>Source: 2021 STR, LLC / STR Global, Ltd. trading as "STR". © CoStar Realty Information, Inc.  </a:t>
            </a:r>
            <a:br>
              <a:rPr lang="en-US" sz="900" kern="1200" dirty="0">
                <a:solidFill>
                  <a:schemeClr val="bg1"/>
                </a:solidFill>
                <a:effectLst/>
                <a:latin typeface="+mn-lt"/>
                <a:ea typeface="+mn-ea"/>
                <a:cs typeface="+mn-cs"/>
              </a:rPr>
            </a:br>
            <a:r>
              <a:rPr lang="en-US" sz="900" kern="1200" dirty="0">
                <a:solidFill>
                  <a:schemeClr val="bg1"/>
                </a:solidFill>
                <a:effectLst/>
                <a:latin typeface="+mn-lt"/>
                <a:ea typeface="+mn-ea"/>
                <a:cs typeface="+mn-cs"/>
              </a:rPr>
              <a:t>Any reprint, use or republication of all or a part of this presentation without the prior written approval of STR is strictly prohibited.  </a:t>
            </a:r>
            <a:br>
              <a:rPr lang="en-US" sz="900" kern="1200" dirty="0">
                <a:solidFill>
                  <a:schemeClr val="bg1"/>
                </a:solidFill>
                <a:effectLst/>
                <a:latin typeface="+mn-lt"/>
                <a:ea typeface="+mn-ea"/>
                <a:cs typeface="+mn-cs"/>
              </a:rPr>
            </a:br>
            <a:r>
              <a:rPr lang="en-US" sz="900" kern="1200" dirty="0">
                <a:solidFill>
                  <a:schemeClr val="bg1"/>
                </a:solidFill>
                <a:effectLst/>
                <a:latin typeface="+mn-lt"/>
                <a:ea typeface="+mn-ea"/>
                <a:cs typeface="+mn-cs"/>
              </a:rPr>
              <a:t>Any such reproduction shall specifically credit STR as the source.  This presentation is based on data collected by STR.  </a:t>
            </a:r>
            <a:br>
              <a:rPr lang="en-US" sz="900" kern="1200" dirty="0">
                <a:solidFill>
                  <a:schemeClr val="bg1"/>
                </a:solidFill>
                <a:effectLst/>
                <a:latin typeface="+mn-lt"/>
                <a:ea typeface="+mn-ea"/>
                <a:cs typeface="+mn-cs"/>
              </a:rPr>
            </a:br>
            <a:r>
              <a:rPr lang="en-US" sz="900" kern="1200" dirty="0">
                <a:solidFill>
                  <a:schemeClr val="bg1"/>
                </a:solidFill>
                <a:effectLst/>
                <a:latin typeface="+mn-lt"/>
                <a:ea typeface="+mn-ea"/>
                <a:cs typeface="+mn-cs"/>
              </a:rPr>
              <a:t>The information in the presentation should not be construed as investment, tax, accounting or legal advice.</a:t>
            </a:r>
          </a:p>
        </p:txBody>
      </p:sp>
      <p:pic>
        <p:nvPicPr>
          <p:cNvPr id="16" name="Picture 15">
            <a:extLst>
              <a:ext uri="{FF2B5EF4-FFF2-40B4-BE49-F238E27FC236}">
                <a16:creationId xmlns:a16="http://schemas.microsoft.com/office/drawing/2014/main" id="{14592B15-A237-214C-856C-E7D8FD041EA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2574" y="5318637"/>
            <a:ext cx="641595" cy="528406"/>
          </a:xfrm>
          <a:prstGeom prst="rect">
            <a:avLst/>
          </a:prstGeom>
        </p:spPr>
      </p:pic>
      <p:pic>
        <p:nvPicPr>
          <p:cNvPr id="17" name="Picture 16">
            <a:extLst>
              <a:ext uri="{FF2B5EF4-FFF2-40B4-BE49-F238E27FC236}">
                <a16:creationId xmlns:a16="http://schemas.microsoft.com/office/drawing/2014/main" id="{4E09F4A4-DEE4-B34C-980E-86F8A802F27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40564" y="5324150"/>
            <a:ext cx="1688104" cy="517379"/>
          </a:xfrm>
          <a:prstGeom prst="rect">
            <a:avLst/>
          </a:prstGeom>
        </p:spPr>
      </p:pic>
      <p:pic>
        <p:nvPicPr>
          <p:cNvPr id="24" name="Picture 23">
            <a:extLst>
              <a:ext uri="{FF2B5EF4-FFF2-40B4-BE49-F238E27FC236}">
                <a16:creationId xmlns:a16="http://schemas.microsoft.com/office/drawing/2014/main" id="{C8BE4B5C-9243-034A-9A5B-299FF4EE46B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08608" y="299377"/>
            <a:ext cx="1259664" cy="1259664"/>
          </a:xfrm>
          <a:prstGeom prst="rect">
            <a:avLst/>
          </a:prstGeom>
        </p:spPr>
      </p:pic>
      <p:sp>
        <p:nvSpPr>
          <p:cNvPr id="28" name="Text Placeholder 27">
            <a:extLst>
              <a:ext uri="{FF2B5EF4-FFF2-40B4-BE49-F238E27FC236}">
                <a16:creationId xmlns:a16="http://schemas.microsoft.com/office/drawing/2014/main" id="{613233A7-B7CC-1341-B559-6120252D8B7A}"/>
              </a:ext>
            </a:extLst>
          </p:cNvPr>
          <p:cNvSpPr>
            <a:spLocks noGrp="1"/>
          </p:cNvSpPr>
          <p:nvPr>
            <p:ph type="body" sz="quarter" idx="10" hasCustomPrompt="1"/>
          </p:nvPr>
        </p:nvSpPr>
        <p:spPr>
          <a:xfrm>
            <a:off x="5482574" y="3713765"/>
            <a:ext cx="6159288" cy="433551"/>
          </a:xfrm>
          <a:prstGeom prst="rect">
            <a:avLst/>
          </a:prstGeom>
        </p:spPr>
        <p:txBody>
          <a:bodyPr>
            <a:noAutofit/>
          </a:bodyPr>
          <a:lstStyle>
            <a:lvl1pPr marL="0" indent="0">
              <a:buNone/>
              <a:defRPr sz="2000">
                <a:solidFill>
                  <a:schemeClr val="bg1"/>
                </a:solidFill>
              </a:defRPr>
            </a:lvl1pPr>
          </a:lstStyle>
          <a:p>
            <a:pPr lvl="0"/>
            <a:r>
              <a:rPr lang="en-US" dirty="0"/>
              <a:t>Title</a:t>
            </a:r>
          </a:p>
        </p:txBody>
      </p:sp>
      <p:sp>
        <p:nvSpPr>
          <p:cNvPr id="11" name="TextBox 10">
            <a:extLst>
              <a:ext uri="{FF2B5EF4-FFF2-40B4-BE49-F238E27FC236}">
                <a16:creationId xmlns:a16="http://schemas.microsoft.com/office/drawing/2014/main" id="{1BD3E64A-1EE5-6A41-BA58-89EF828D48F2}"/>
              </a:ext>
            </a:extLst>
          </p:cNvPr>
          <p:cNvSpPr txBox="1"/>
          <p:nvPr userDrawn="1"/>
        </p:nvSpPr>
        <p:spPr>
          <a:xfrm>
            <a:off x="8646289" y="4988689"/>
            <a:ext cx="184731" cy="369332"/>
          </a:xfrm>
          <a:prstGeom prst="rect">
            <a:avLst/>
          </a:prstGeom>
          <a:noFill/>
        </p:spPr>
        <p:txBody>
          <a:bodyPr wrap="none" rtlCol="0">
            <a:spAutoFit/>
          </a:bodyPr>
          <a:lstStyle/>
          <a:p>
            <a:endParaRPr lang="en-US" dirty="0"/>
          </a:p>
        </p:txBody>
      </p:sp>
      <p:sp>
        <p:nvSpPr>
          <p:cNvPr id="5" name="Rectangle 4">
            <a:extLst>
              <a:ext uri="{FF2B5EF4-FFF2-40B4-BE49-F238E27FC236}">
                <a16:creationId xmlns:a16="http://schemas.microsoft.com/office/drawing/2014/main" id="{1D00BA5E-D5D3-0346-92F4-071F0B682862}"/>
              </a:ext>
            </a:extLst>
          </p:cNvPr>
          <p:cNvSpPr/>
          <p:nvPr userDrawn="1"/>
        </p:nvSpPr>
        <p:spPr>
          <a:xfrm>
            <a:off x="0" y="-24"/>
            <a:ext cx="4912805" cy="6858024"/>
          </a:xfrm>
          <a:custGeom>
            <a:avLst/>
            <a:gdLst>
              <a:gd name="connsiteX0" fmla="*/ 0 w 4419600"/>
              <a:gd name="connsiteY0" fmla="*/ 0 h 6858000"/>
              <a:gd name="connsiteX1" fmla="*/ 4419600 w 4419600"/>
              <a:gd name="connsiteY1" fmla="*/ 0 h 6858000"/>
              <a:gd name="connsiteX2" fmla="*/ 4419600 w 4419600"/>
              <a:gd name="connsiteY2" fmla="*/ 6858000 h 6858000"/>
              <a:gd name="connsiteX3" fmla="*/ 0 w 4419600"/>
              <a:gd name="connsiteY3" fmla="*/ 6858000 h 6858000"/>
              <a:gd name="connsiteX4" fmla="*/ 0 w 4419600"/>
              <a:gd name="connsiteY4" fmla="*/ 0 h 6858000"/>
              <a:gd name="connsiteX0" fmla="*/ 0 w 5029200"/>
              <a:gd name="connsiteY0" fmla="*/ 12700 h 6870700"/>
              <a:gd name="connsiteX1" fmla="*/ 5029200 w 5029200"/>
              <a:gd name="connsiteY1" fmla="*/ 0 h 6870700"/>
              <a:gd name="connsiteX2" fmla="*/ 4419600 w 5029200"/>
              <a:gd name="connsiteY2" fmla="*/ 6870700 h 6870700"/>
              <a:gd name="connsiteX3" fmla="*/ 0 w 5029200"/>
              <a:gd name="connsiteY3" fmla="*/ 6870700 h 6870700"/>
              <a:gd name="connsiteX4" fmla="*/ 0 w 5029200"/>
              <a:gd name="connsiteY4" fmla="*/ 12700 h 6870700"/>
              <a:gd name="connsiteX0" fmla="*/ 0 w 5029200"/>
              <a:gd name="connsiteY0" fmla="*/ 0 h 6870723"/>
              <a:gd name="connsiteX1" fmla="*/ 5029200 w 5029200"/>
              <a:gd name="connsiteY1" fmla="*/ 23 h 6870723"/>
              <a:gd name="connsiteX2" fmla="*/ 4419600 w 5029200"/>
              <a:gd name="connsiteY2" fmla="*/ 6870723 h 6870723"/>
              <a:gd name="connsiteX3" fmla="*/ 0 w 5029200"/>
              <a:gd name="connsiteY3" fmla="*/ 6870723 h 6870723"/>
              <a:gd name="connsiteX4" fmla="*/ 0 w 5029200"/>
              <a:gd name="connsiteY4" fmla="*/ 0 h 68707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9200" h="6870723">
                <a:moveTo>
                  <a:pt x="0" y="0"/>
                </a:moveTo>
                <a:lnTo>
                  <a:pt x="5029200" y="23"/>
                </a:lnTo>
                <a:lnTo>
                  <a:pt x="4419600" y="6870723"/>
                </a:lnTo>
                <a:lnTo>
                  <a:pt x="0" y="687072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8148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8_Cover Option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08265" y="1069465"/>
            <a:ext cx="3601587" cy="712893"/>
          </a:xfrm>
        </p:spPr>
        <p:txBody>
          <a:bodyPr>
            <a:normAutofit/>
          </a:bodyPr>
          <a:lstStyle>
            <a:lvl1pPr algn="l">
              <a:defRPr sz="5067" b="1">
                <a:solidFill>
                  <a:schemeClr val="bg1"/>
                </a:solidFill>
                <a:latin typeface="+mn-lt"/>
              </a:defRPr>
            </a:lvl1pPr>
          </a:lstStyle>
          <a:p>
            <a:r>
              <a:rPr lang="en-US" dirty="0"/>
              <a:t>Thank You!</a:t>
            </a:r>
          </a:p>
        </p:txBody>
      </p:sp>
      <p:sp>
        <p:nvSpPr>
          <p:cNvPr id="26" name="Trapezoid 5">
            <a:extLst>
              <a:ext uri="{FF2B5EF4-FFF2-40B4-BE49-F238E27FC236}">
                <a16:creationId xmlns:a16="http://schemas.microsoft.com/office/drawing/2014/main" id="{72F83640-6433-1F4E-A2E6-8F9662D4DCDB}"/>
              </a:ext>
            </a:extLst>
          </p:cNvPr>
          <p:cNvSpPr/>
          <p:nvPr userDrawn="1"/>
        </p:nvSpPr>
        <p:spPr>
          <a:xfrm rot="10800000">
            <a:off x="3992211" y="-11575"/>
            <a:ext cx="5744051" cy="6869576"/>
          </a:xfrm>
          <a:custGeom>
            <a:avLst/>
            <a:gdLst>
              <a:gd name="connsiteX0" fmla="*/ 0 w 9601200"/>
              <a:gd name="connsiteY0" fmla="*/ 6869576 h 6869576"/>
              <a:gd name="connsiteX1" fmla="*/ 1717394 w 9601200"/>
              <a:gd name="connsiteY1" fmla="*/ 0 h 6869576"/>
              <a:gd name="connsiteX2" fmla="*/ 7883806 w 9601200"/>
              <a:gd name="connsiteY2" fmla="*/ 0 h 6869576"/>
              <a:gd name="connsiteX3" fmla="*/ 9601200 w 9601200"/>
              <a:gd name="connsiteY3" fmla="*/ 6869576 h 6869576"/>
              <a:gd name="connsiteX4" fmla="*/ 0 w 9601200"/>
              <a:gd name="connsiteY4" fmla="*/ 6869576 h 6869576"/>
              <a:gd name="connsiteX0" fmla="*/ 0 w 9611006"/>
              <a:gd name="connsiteY0" fmla="*/ 6869576 h 6869576"/>
              <a:gd name="connsiteX1" fmla="*/ 1717394 w 9611006"/>
              <a:gd name="connsiteY1" fmla="*/ 0 h 6869576"/>
              <a:gd name="connsiteX2" fmla="*/ 9611006 w 9611006"/>
              <a:gd name="connsiteY2" fmla="*/ 0 h 6869576"/>
              <a:gd name="connsiteX3" fmla="*/ 9601200 w 9611006"/>
              <a:gd name="connsiteY3" fmla="*/ 6869576 h 6869576"/>
              <a:gd name="connsiteX4" fmla="*/ 0 w 9611006"/>
              <a:gd name="connsiteY4" fmla="*/ 6869576 h 6869576"/>
              <a:gd name="connsiteX0" fmla="*/ 0 w 9611006"/>
              <a:gd name="connsiteY0" fmla="*/ 6869576 h 6869576"/>
              <a:gd name="connsiteX1" fmla="*/ 777594 w 9611006"/>
              <a:gd name="connsiteY1" fmla="*/ 0 h 6869576"/>
              <a:gd name="connsiteX2" fmla="*/ 9611006 w 9611006"/>
              <a:gd name="connsiteY2" fmla="*/ 0 h 6869576"/>
              <a:gd name="connsiteX3" fmla="*/ 9601200 w 9611006"/>
              <a:gd name="connsiteY3" fmla="*/ 6869576 h 6869576"/>
              <a:gd name="connsiteX4" fmla="*/ 0 w 9611006"/>
              <a:gd name="connsiteY4" fmla="*/ 6869576 h 6869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11006" h="6869576">
                <a:moveTo>
                  <a:pt x="0" y="6869576"/>
                </a:moveTo>
                <a:lnTo>
                  <a:pt x="777594" y="0"/>
                </a:lnTo>
                <a:lnTo>
                  <a:pt x="9611006" y="0"/>
                </a:lnTo>
                <a:cubicBezTo>
                  <a:pt x="9607737" y="2289859"/>
                  <a:pt x="9604469" y="4579717"/>
                  <a:pt x="9601200" y="6869576"/>
                </a:cubicBezTo>
                <a:lnTo>
                  <a:pt x="0" y="6869576"/>
                </a:lnTo>
                <a:close/>
              </a:path>
            </a:pathLst>
          </a:custGeom>
          <a:solidFill>
            <a:srgbClr val="97DF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rapezoid 5">
            <a:extLst>
              <a:ext uri="{FF2B5EF4-FFF2-40B4-BE49-F238E27FC236}">
                <a16:creationId xmlns:a16="http://schemas.microsoft.com/office/drawing/2014/main" id="{A93719EF-6C3A-6E44-9C2A-9C731ECE8637}"/>
              </a:ext>
            </a:extLst>
          </p:cNvPr>
          <p:cNvSpPr/>
          <p:nvPr userDrawn="1"/>
        </p:nvSpPr>
        <p:spPr>
          <a:xfrm rot="10800000">
            <a:off x="-15798" y="-11576"/>
            <a:ext cx="9743998" cy="6869576"/>
          </a:xfrm>
          <a:custGeom>
            <a:avLst/>
            <a:gdLst>
              <a:gd name="connsiteX0" fmla="*/ 0 w 9601200"/>
              <a:gd name="connsiteY0" fmla="*/ 6869576 h 6869576"/>
              <a:gd name="connsiteX1" fmla="*/ 1717394 w 9601200"/>
              <a:gd name="connsiteY1" fmla="*/ 0 h 6869576"/>
              <a:gd name="connsiteX2" fmla="*/ 7883806 w 9601200"/>
              <a:gd name="connsiteY2" fmla="*/ 0 h 6869576"/>
              <a:gd name="connsiteX3" fmla="*/ 9601200 w 9601200"/>
              <a:gd name="connsiteY3" fmla="*/ 6869576 h 6869576"/>
              <a:gd name="connsiteX4" fmla="*/ 0 w 9601200"/>
              <a:gd name="connsiteY4" fmla="*/ 6869576 h 6869576"/>
              <a:gd name="connsiteX0" fmla="*/ 0 w 9611006"/>
              <a:gd name="connsiteY0" fmla="*/ 6869576 h 6869576"/>
              <a:gd name="connsiteX1" fmla="*/ 1717394 w 9611006"/>
              <a:gd name="connsiteY1" fmla="*/ 0 h 6869576"/>
              <a:gd name="connsiteX2" fmla="*/ 9611006 w 9611006"/>
              <a:gd name="connsiteY2" fmla="*/ 0 h 6869576"/>
              <a:gd name="connsiteX3" fmla="*/ 9601200 w 9611006"/>
              <a:gd name="connsiteY3" fmla="*/ 6869576 h 6869576"/>
              <a:gd name="connsiteX4" fmla="*/ 0 w 9611006"/>
              <a:gd name="connsiteY4" fmla="*/ 6869576 h 6869576"/>
              <a:gd name="connsiteX0" fmla="*/ 0 w 9611006"/>
              <a:gd name="connsiteY0" fmla="*/ 6869576 h 6869576"/>
              <a:gd name="connsiteX1" fmla="*/ 777594 w 9611006"/>
              <a:gd name="connsiteY1" fmla="*/ 0 h 6869576"/>
              <a:gd name="connsiteX2" fmla="*/ 9611006 w 9611006"/>
              <a:gd name="connsiteY2" fmla="*/ 0 h 6869576"/>
              <a:gd name="connsiteX3" fmla="*/ 9601200 w 9611006"/>
              <a:gd name="connsiteY3" fmla="*/ 6869576 h 6869576"/>
              <a:gd name="connsiteX4" fmla="*/ 0 w 9611006"/>
              <a:gd name="connsiteY4" fmla="*/ 6869576 h 6869576"/>
              <a:gd name="connsiteX0" fmla="*/ 0 w 9638997"/>
              <a:gd name="connsiteY0" fmla="*/ 6869576 h 6869576"/>
              <a:gd name="connsiteX1" fmla="*/ 777594 w 9638997"/>
              <a:gd name="connsiteY1" fmla="*/ 0 h 6869576"/>
              <a:gd name="connsiteX2" fmla="*/ 9611006 w 9638997"/>
              <a:gd name="connsiteY2" fmla="*/ 0 h 6869576"/>
              <a:gd name="connsiteX3" fmla="*/ 9638778 w 9638997"/>
              <a:gd name="connsiteY3" fmla="*/ 6869576 h 6869576"/>
              <a:gd name="connsiteX4" fmla="*/ 0 w 9638997"/>
              <a:gd name="connsiteY4" fmla="*/ 6869576 h 6869576"/>
              <a:gd name="connsiteX0" fmla="*/ 0 w 9626587"/>
              <a:gd name="connsiteY0" fmla="*/ 6869576 h 6869576"/>
              <a:gd name="connsiteX1" fmla="*/ 777594 w 9626587"/>
              <a:gd name="connsiteY1" fmla="*/ 0 h 6869576"/>
              <a:gd name="connsiteX2" fmla="*/ 9611006 w 9626587"/>
              <a:gd name="connsiteY2" fmla="*/ 0 h 6869576"/>
              <a:gd name="connsiteX3" fmla="*/ 9626252 w 9626587"/>
              <a:gd name="connsiteY3" fmla="*/ 6869576 h 6869576"/>
              <a:gd name="connsiteX4" fmla="*/ 0 w 9626587"/>
              <a:gd name="connsiteY4" fmla="*/ 6869576 h 6869576"/>
              <a:gd name="connsiteX0" fmla="*/ 0 w 9611006"/>
              <a:gd name="connsiteY0" fmla="*/ 6869576 h 6869576"/>
              <a:gd name="connsiteX1" fmla="*/ 777594 w 9611006"/>
              <a:gd name="connsiteY1" fmla="*/ 0 h 6869576"/>
              <a:gd name="connsiteX2" fmla="*/ 9611006 w 9611006"/>
              <a:gd name="connsiteY2" fmla="*/ 0 h 6869576"/>
              <a:gd name="connsiteX3" fmla="*/ 9588675 w 9611006"/>
              <a:gd name="connsiteY3" fmla="*/ 6856876 h 6869576"/>
              <a:gd name="connsiteX4" fmla="*/ 0 w 9611006"/>
              <a:gd name="connsiteY4" fmla="*/ 6869576 h 6869576"/>
              <a:gd name="connsiteX0" fmla="*/ 0 w 9626587"/>
              <a:gd name="connsiteY0" fmla="*/ 6869576 h 6869576"/>
              <a:gd name="connsiteX1" fmla="*/ 777594 w 9626587"/>
              <a:gd name="connsiteY1" fmla="*/ 0 h 6869576"/>
              <a:gd name="connsiteX2" fmla="*/ 9611006 w 9626587"/>
              <a:gd name="connsiteY2" fmla="*/ 0 h 6869576"/>
              <a:gd name="connsiteX3" fmla="*/ 9626252 w 9626587"/>
              <a:gd name="connsiteY3" fmla="*/ 6856876 h 6869576"/>
              <a:gd name="connsiteX4" fmla="*/ 0 w 9626587"/>
              <a:gd name="connsiteY4" fmla="*/ 6869576 h 6869576"/>
              <a:gd name="connsiteX0" fmla="*/ 0 w 9626587"/>
              <a:gd name="connsiteY0" fmla="*/ 6869576 h 6882276"/>
              <a:gd name="connsiteX1" fmla="*/ 777594 w 9626587"/>
              <a:gd name="connsiteY1" fmla="*/ 0 h 6882276"/>
              <a:gd name="connsiteX2" fmla="*/ 9611006 w 9626587"/>
              <a:gd name="connsiteY2" fmla="*/ 0 h 6882276"/>
              <a:gd name="connsiteX3" fmla="*/ 9626252 w 9626587"/>
              <a:gd name="connsiteY3" fmla="*/ 6882276 h 6882276"/>
              <a:gd name="connsiteX4" fmla="*/ 0 w 9626587"/>
              <a:gd name="connsiteY4" fmla="*/ 6869576 h 6882276"/>
              <a:gd name="connsiteX0" fmla="*/ 0 w 9626587"/>
              <a:gd name="connsiteY0" fmla="*/ 6869576 h 6869576"/>
              <a:gd name="connsiteX1" fmla="*/ 777594 w 9626587"/>
              <a:gd name="connsiteY1" fmla="*/ 0 h 6869576"/>
              <a:gd name="connsiteX2" fmla="*/ 9611006 w 9626587"/>
              <a:gd name="connsiteY2" fmla="*/ 0 h 6869576"/>
              <a:gd name="connsiteX3" fmla="*/ 9626252 w 9626587"/>
              <a:gd name="connsiteY3" fmla="*/ 6844176 h 6869576"/>
              <a:gd name="connsiteX4" fmla="*/ 0 w 9626587"/>
              <a:gd name="connsiteY4" fmla="*/ 6869576 h 6869576"/>
              <a:gd name="connsiteX0" fmla="*/ 0 w 9626587"/>
              <a:gd name="connsiteY0" fmla="*/ 6869576 h 6869576"/>
              <a:gd name="connsiteX1" fmla="*/ 777594 w 9626587"/>
              <a:gd name="connsiteY1" fmla="*/ 0 h 6869576"/>
              <a:gd name="connsiteX2" fmla="*/ 9611006 w 9626587"/>
              <a:gd name="connsiteY2" fmla="*/ 0 h 6869576"/>
              <a:gd name="connsiteX3" fmla="*/ 9626252 w 9626587"/>
              <a:gd name="connsiteY3" fmla="*/ 6856876 h 6869576"/>
              <a:gd name="connsiteX4" fmla="*/ 0 w 9626587"/>
              <a:gd name="connsiteY4" fmla="*/ 6869576 h 6869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6587" h="6869576">
                <a:moveTo>
                  <a:pt x="0" y="6869576"/>
                </a:moveTo>
                <a:lnTo>
                  <a:pt x="777594" y="0"/>
                </a:lnTo>
                <a:lnTo>
                  <a:pt x="9611006" y="0"/>
                </a:lnTo>
                <a:cubicBezTo>
                  <a:pt x="9607737" y="2289859"/>
                  <a:pt x="9629521" y="4567017"/>
                  <a:pt x="9626252" y="6856876"/>
                </a:cubicBezTo>
                <a:lnTo>
                  <a:pt x="0" y="6869576"/>
                </a:lnTo>
                <a:close/>
              </a:path>
            </a:pathLst>
          </a:custGeom>
          <a:gradFill>
            <a:gsLst>
              <a:gs pos="0">
                <a:srgbClr val="265088"/>
              </a:gs>
              <a:gs pos="100000">
                <a:srgbClr val="00B8B0"/>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a:xfrm>
            <a:off x="908265" y="1941948"/>
            <a:ext cx="6611424" cy="505732"/>
          </a:xfrm>
          <a:prstGeom prst="rect">
            <a:avLst/>
          </a:prstGeom>
        </p:spPr>
        <p:txBody>
          <a:bodyPr>
            <a:noAutofit/>
          </a:bodyPr>
          <a:lstStyle>
            <a:lvl1pPr marL="0" indent="0" algn="l">
              <a:buNone/>
              <a:defRPr sz="2800" b="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Name</a:t>
            </a:r>
          </a:p>
        </p:txBody>
      </p:sp>
      <p:sp>
        <p:nvSpPr>
          <p:cNvPr id="4" name="TextBox 3"/>
          <p:cNvSpPr txBox="1"/>
          <p:nvPr userDrawn="1"/>
        </p:nvSpPr>
        <p:spPr>
          <a:xfrm>
            <a:off x="857301" y="5935507"/>
            <a:ext cx="9652000" cy="707886"/>
          </a:xfrm>
          <a:prstGeom prst="rect">
            <a:avLst/>
          </a:prstGeom>
          <a:noFill/>
        </p:spPr>
        <p:txBody>
          <a:bodyPr wrap="square" rtlCol="0">
            <a:spAutoFit/>
          </a:bodyPr>
          <a:lstStyle/>
          <a:p>
            <a:r>
              <a:rPr lang="en-US" sz="1000" kern="1200" dirty="0">
                <a:solidFill>
                  <a:schemeClr val="bg1"/>
                </a:solidFill>
                <a:effectLst/>
                <a:latin typeface="+mn-lt"/>
                <a:ea typeface="+mn-ea"/>
                <a:cs typeface="+mn-cs"/>
              </a:rPr>
              <a:t>Source: 2021 STR, LLC / STR Global, Ltd. trading as "STR". © CoStar Realty Information, Inc.  </a:t>
            </a:r>
            <a:br>
              <a:rPr lang="en-US" sz="1000" kern="1200" dirty="0">
                <a:solidFill>
                  <a:schemeClr val="bg1"/>
                </a:solidFill>
                <a:effectLst/>
                <a:latin typeface="+mn-lt"/>
                <a:ea typeface="+mn-ea"/>
                <a:cs typeface="+mn-cs"/>
              </a:rPr>
            </a:br>
            <a:r>
              <a:rPr lang="en-US" sz="1000" kern="1200" dirty="0">
                <a:solidFill>
                  <a:schemeClr val="bg1"/>
                </a:solidFill>
                <a:effectLst/>
                <a:latin typeface="+mn-lt"/>
                <a:ea typeface="+mn-ea"/>
                <a:cs typeface="+mn-cs"/>
              </a:rPr>
              <a:t>Any reprint, use or republication of all or a part of this presentation without the prior written approval of STR is strictly prohibited.  </a:t>
            </a:r>
            <a:br>
              <a:rPr lang="en-US" sz="1000" kern="1200" dirty="0">
                <a:solidFill>
                  <a:schemeClr val="bg1"/>
                </a:solidFill>
                <a:effectLst/>
                <a:latin typeface="+mn-lt"/>
                <a:ea typeface="+mn-ea"/>
                <a:cs typeface="+mn-cs"/>
              </a:rPr>
            </a:br>
            <a:r>
              <a:rPr lang="en-US" sz="1000" kern="1200" dirty="0">
                <a:solidFill>
                  <a:schemeClr val="bg1"/>
                </a:solidFill>
                <a:effectLst/>
                <a:latin typeface="+mn-lt"/>
                <a:ea typeface="+mn-ea"/>
                <a:cs typeface="+mn-cs"/>
              </a:rPr>
              <a:t>Any such reproduction shall specifically credit STR as the source.  This presentation is based on data collected by STR.  </a:t>
            </a:r>
            <a:br>
              <a:rPr lang="en-US" sz="1000" kern="1200" dirty="0">
                <a:solidFill>
                  <a:schemeClr val="bg1"/>
                </a:solidFill>
                <a:effectLst/>
                <a:latin typeface="+mn-lt"/>
                <a:ea typeface="+mn-ea"/>
                <a:cs typeface="+mn-cs"/>
              </a:rPr>
            </a:br>
            <a:r>
              <a:rPr lang="en-US" sz="1000" kern="1200" dirty="0">
                <a:solidFill>
                  <a:schemeClr val="bg1"/>
                </a:solidFill>
                <a:effectLst/>
                <a:latin typeface="+mn-lt"/>
                <a:ea typeface="+mn-ea"/>
                <a:cs typeface="+mn-cs"/>
              </a:rPr>
              <a:t>The information in the presentation should not be construed as investment, tax, accounting or legal advice.</a:t>
            </a:r>
          </a:p>
        </p:txBody>
      </p:sp>
      <p:pic>
        <p:nvPicPr>
          <p:cNvPr id="16" name="Picture 15">
            <a:extLst>
              <a:ext uri="{FF2B5EF4-FFF2-40B4-BE49-F238E27FC236}">
                <a16:creationId xmlns:a16="http://schemas.microsoft.com/office/drawing/2014/main" id="{14592B15-A237-214C-856C-E7D8FD041EA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198" y="5254960"/>
            <a:ext cx="641595" cy="528406"/>
          </a:xfrm>
          <a:prstGeom prst="rect">
            <a:avLst/>
          </a:prstGeom>
        </p:spPr>
      </p:pic>
      <p:pic>
        <p:nvPicPr>
          <p:cNvPr id="17" name="Picture 16">
            <a:extLst>
              <a:ext uri="{FF2B5EF4-FFF2-40B4-BE49-F238E27FC236}">
                <a16:creationId xmlns:a16="http://schemas.microsoft.com/office/drawing/2014/main" id="{4E09F4A4-DEE4-B34C-980E-86F8A802F27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61188" y="5260473"/>
            <a:ext cx="1688104" cy="517379"/>
          </a:xfrm>
          <a:prstGeom prst="rect">
            <a:avLst/>
          </a:prstGeom>
        </p:spPr>
      </p:pic>
      <p:pic>
        <p:nvPicPr>
          <p:cNvPr id="24" name="Picture 23">
            <a:extLst>
              <a:ext uri="{FF2B5EF4-FFF2-40B4-BE49-F238E27FC236}">
                <a16:creationId xmlns:a16="http://schemas.microsoft.com/office/drawing/2014/main" id="{C8BE4B5C-9243-034A-9A5B-299FF4EE46B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49565" y="209082"/>
            <a:ext cx="1259664" cy="1259664"/>
          </a:xfrm>
          <a:prstGeom prst="rect">
            <a:avLst/>
          </a:prstGeom>
        </p:spPr>
      </p:pic>
      <p:sp>
        <p:nvSpPr>
          <p:cNvPr id="28" name="Text Placeholder 27">
            <a:extLst>
              <a:ext uri="{FF2B5EF4-FFF2-40B4-BE49-F238E27FC236}">
                <a16:creationId xmlns:a16="http://schemas.microsoft.com/office/drawing/2014/main" id="{613233A7-B7CC-1341-B559-6120252D8B7A}"/>
              </a:ext>
            </a:extLst>
          </p:cNvPr>
          <p:cNvSpPr>
            <a:spLocks noGrp="1"/>
          </p:cNvSpPr>
          <p:nvPr>
            <p:ph type="body" sz="quarter" idx="10" hasCustomPrompt="1"/>
          </p:nvPr>
        </p:nvSpPr>
        <p:spPr>
          <a:xfrm>
            <a:off x="908085" y="2479579"/>
            <a:ext cx="6611603" cy="433551"/>
          </a:xfrm>
          <a:prstGeom prst="rect">
            <a:avLst/>
          </a:prstGeom>
        </p:spPr>
        <p:txBody>
          <a:bodyPr>
            <a:noAutofit/>
          </a:bodyPr>
          <a:lstStyle>
            <a:lvl1pPr marL="0" indent="0">
              <a:buNone/>
              <a:defRPr sz="2000">
                <a:solidFill>
                  <a:schemeClr val="bg1"/>
                </a:solidFill>
              </a:defRPr>
            </a:lvl1pPr>
          </a:lstStyle>
          <a:p>
            <a:pPr lvl="0"/>
            <a:r>
              <a:rPr lang="en-US" dirty="0"/>
              <a:t>Title</a:t>
            </a:r>
          </a:p>
        </p:txBody>
      </p:sp>
      <p:sp>
        <p:nvSpPr>
          <p:cNvPr id="11" name="TextBox 10">
            <a:extLst>
              <a:ext uri="{FF2B5EF4-FFF2-40B4-BE49-F238E27FC236}">
                <a16:creationId xmlns:a16="http://schemas.microsoft.com/office/drawing/2014/main" id="{1BD3E64A-1EE5-6A41-BA58-89EF828D48F2}"/>
              </a:ext>
            </a:extLst>
          </p:cNvPr>
          <p:cNvSpPr txBox="1"/>
          <p:nvPr userDrawn="1"/>
        </p:nvSpPr>
        <p:spPr>
          <a:xfrm>
            <a:off x="8646289" y="4988689"/>
            <a:ext cx="184731" cy="369332"/>
          </a:xfrm>
          <a:prstGeom prst="rect">
            <a:avLst/>
          </a:prstGeom>
          <a:noFill/>
        </p:spPr>
        <p:txBody>
          <a:bodyPr wrap="none" rtlCol="0">
            <a:spAutoFit/>
          </a:bodyPr>
          <a:lstStyle/>
          <a:p>
            <a:endParaRPr lang="en-US" dirty="0"/>
          </a:p>
        </p:txBody>
      </p:sp>
      <p:sp>
        <p:nvSpPr>
          <p:cNvPr id="30" name="Rectangle 29">
            <a:extLst>
              <a:ext uri="{FF2B5EF4-FFF2-40B4-BE49-F238E27FC236}">
                <a16:creationId xmlns:a16="http://schemas.microsoft.com/office/drawing/2014/main" id="{CD25656D-47A4-C741-9A80-E84B79ACC863}"/>
              </a:ext>
            </a:extLst>
          </p:cNvPr>
          <p:cNvSpPr/>
          <p:nvPr userDrawn="1"/>
        </p:nvSpPr>
        <p:spPr>
          <a:xfrm>
            <a:off x="908265" y="4110592"/>
            <a:ext cx="1273810" cy="338554"/>
          </a:xfrm>
          <a:prstGeom prst="rect">
            <a:avLst/>
          </a:prstGeom>
        </p:spPr>
        <p:txBody>
          <a:bodyPr wrap="none">
            <a:spAutoFit/>
          </a:bodyPr>
          <a:lstStyle/>
          <a:p>
            <a:pPr algn="ctr"/>
            <a:r>
              <a:rPr lang="en-US" sz="1600" dirty="0">
                <a:solidFill>
                  <a:schemeClr val="bg1"/>
                </a:solidFill>
                <a:latin typeface="Calibri" panose="020F0502020204030204" pitchFamily="34" charset="0"/>
                <a:ea typeface="Open Sans Light" panose="020B0306030504020204" pitchFamily="34" charset="0"/>
                <a:cs typeface="Calibri" panose="020F0502020204030204" pitchFamily="34" charset="0"/>
              </a:rPr>
              <a:t>www.str.com</a:t>
            </a:r>
          </a:p>
        </p:txBody>
      </p:sp>
      <p:sp>
        <p:nvSpPr>
          <p:cNvPr id="32" name="Freeform 54">
            <a:extLst>
              <a:ext uri="{FF2B5EF4-FFF2-40B4-BE49-F238E27FC236}">
                <a16:creationId xmlns:a16="http://schemas.microsoft.com/office/drawing/2014/main" id="{C5D627F8-B238-1A45-879B-528DE79B101D}"/>
              </a:ext>
            </a:extLst>
          </p:cNvPr>
          <p:cNvSpPr>
            <a:spLocks noEditPoints="1"/>
          </p:cNvSpPr>
          <p:nvPr userDrawn="1"/>
        </p:nvSpPr>
        <p:spPr bwMode="auto">
          <a:xfrm>
            <a:off x="1268322" y="3396597"/>
            <a:ext cx="553696" cy="553696"/>
          </a:xfrm>
          <a:custGeom>
            <a:avLst/>
            <a:gdLst>
              <a:gd name="T0" fmla="*/ 100 w 200"/>
              <a:gd name="T1" fmla="*/ 0 h 200"/>
              <a:gd name="T2" fmla="*/ 100 w 200"/>
              <a:gd name="T3" fmla="*/ 0 h 200"/>
              <a:gd name="T4" fmla="*/ 100 w 200"/>
              <a:gd name="T5" fmla="*/ 200 h 200"/>
              <a:gd name="T6" fmla="*/ 100 w 200"/>
              <a:gd name="T7" fmla="*/ 200 h 200"/>
              <a:gd name="T8" fmla="*/ 200 w 200"/>
              <a:gd name="T9" fmla="*/ 100 h 200"/>
              <a:gd name="T10" fmla="*/ 104 w 200"/>
              <a:gd name="T11" fmla="*/ 59 h 200"/>
              <a:gd name="T12" fmla="*/ 140 w 200"/>
              <a:gd name="T13" fmla="*/ 96 h 200"/>
              <a:gd name="T14" fmla="*/ 104 w 200"/>
              <a:gd name="T15" fmla="*/ 59 h 200"/>
              <a:gd name="T16" fmla="*/ 104 w 200"/>
              <a:gd name="T17" fmla="*/ 8 h 200"/>
              <a:gd name="T18" fmla="*/ 104 w 200"/>
              <a:gd name="T19" fmla="*/ 51 h 200"/>
              <a:gd name="T20" fmla="*/ 96 w 200"/>
              <a:gd name="T21" fmla="*/ 51 h 200"/>
              <a:gd name="T22" fmla="*/ 96 w 200"/>
              <a:gd name="T23" fmla="*/ 8 h 200"/>
              <a:gd name="T24" fmla="*/ 96 w 200"/>
              <a:gd name="T25" fmla="*/ 96 h 200"/>
              <a:gd name="T26" fmla="*/ 65 w 200"/>
              <a:gd name="T27" fmla="*/ 55 h 200"/>
              <a:gd name="T28" fmla="*/ 52 w 200"/>
              <a:gd name="T29" fmla="*/ 96 h 200"/>
              <a:gd name="T30" fmla="*/ 29 w 200"/>
              <a:gd name="T31" fmla="*/ 41 h 200"/>
              <a:gd name="T32" fmla="*/ 52 w 200"/>
              <a:gd name="T33" fmla="*/ 96 h 200"/>
              <a:gd name="T34" fmla="*/ 57 w 200"/>
              <a:gd name="T35" fmla="*/ 146 h 200"/>
              <a:gd name="T36" fmla="*/ 8 w 200"/>
              <a:gd name="T37" fmla="*/ 104 h 200"/>
              <a:gd name="T38" fmla="*/ 60 w 200"/>
              <a:gd name="T39" fmla="*/ 104 h 200"/>
              <a:gd name="T40" fmla="*/ 96 w 200"/>
              <a:gd name="T41" fmla="*/ 140 h 200"/>
              <a:gd name="T42" fmla="*/ 60 w 200"/>
              <a:gd name="T43" fmla="*/ 104 h 200"/>
              <a:gd name="T44" fmla="*/ 96 w 200"/>
              <a:gd name="T45" fmla="*/ 191 h 200"/>
              <a:gd name="T46" fmla="*/ 96 w 200"/>
              <a:gd name="T47" fmla="*/ 148 h 200"/>
              <a:gd name="T48" fmla="*/ 104 w 200"/>
              <a:gd name="T49" fmla="*/ 148 h 200"/>
              <a:gd name="T50" fmla="*/ 104 w 200"/>
              <a:gd name="T51" fmla="*/ 191 h 200"/>
              <a:gd name="T52" fmla="*/ 104 w 200"/>
              <a:gd name="T53" fmla="*/ 104 h 200"/>
              <a:gd name="T54" fmla="*/ 135 w 200"/>
              <a:gd name="T55" fmla="*/ 144 h 200"/>
              <a:gd name="T56" fmla="*/ 148 w 200"/>
              <a:gd name="T57" fmla="*/ 104 h 200"/>
              <a:gd name="T58" fmla="*/ 171 w 200"/>
              <a:gd name="T59" fmla="*/ 158 h 200"/>
              <a:gd name="T60" fmla="*/ 148 w 200"/>
              <a:gd name="T61" fmla="*/ 104 h 200"/>
              <a:gd name="T62" fmla="*/ 143 w 200"/>
              <a:gd name="T63" fmla="*/ 53 h 200"/>
              <a:gd name="T64" fmla="*/ 192 w 200"/>
              <a:gd name="T65" fmla="*/ 96 h 200"/>
              <a:gd name="T66" fmla="*/ 166 w 200"/>
              <a:gd name="T67" fmla="*/ 35 h 200"/>
              <a:gd name="T68" fmla="*/ 121 w 200"/>
              <a:gd name="T69" fmla="*/ 10 h 200"/>
              <a:gd name="T70" fmla="*/ 78 w 200"/>
              <a:gd name="T71" fmla="*/ 10 h 200"/>
              <a:gd name="T72" fmla="*/ 34 w 200"/>
              <a:gd name="T73" fmla="*/ 35 h 200"/>
              <a:gd name="T74" fmla="*/ 34 w 200"/>
              <a:gd name="T75" fmla="*/ 164 h 200"/>
              <a:gd name="T76" fmla="*/ 78 w 200"/>
              <a:gd name="T77" fmla="*/ 189 h 200"/>
              <a:gd name="T78" fmla="*/ 121 w 200"/>
              <a:gd name="T79" fmla="*/ 189 h 200"/>
              <a:gd name="T80" fmla="*/ 166 w 200"/>
              <a:gd name="T81" fmla="*/ 16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00">
                <a:moveTo>
                  <a:pt x="100" y="0"/>
                </a:moveTo>
                <a:cubicBezTo>
                  <a:pt x="100" y="0"/>
                  <a:pt x="100" y="0"/>
                  <a:pt x="100" y="0"/>
                </a:cubicBezTo>
                <a:cubicBezTo>
                  <a:pt x="100" y="0"/>
                  <a:pt x="100" y="0"/>
                  <a:pt x="100" y="0"/>
                </a:cubicBezTo>
                <a:cubicBezTo>
                  <a:pt x="100" y="0"/>
                  <a:pt x="100" y="0"/>
                  <a:pt x="100" y="0"/>
                </a:cubicBezTo>
                <a:cubicBezTo>
                  <a:pt x="45" y="0"/>
                  <a:pt x="0" y="44"/>
                  <a:pt x="0" y="100"/>
                </a:cubicBezTo>
                <a:cubicBezTo>
                  <a:pt x="0" y="155"/>
                  <a:pt x="45" y="199"/>
                  <a:pt x="100" y="200"/>
                </a:cubicBezTo>
                <a:cubicBezTo>
                  <a:pt x="100" y="200"/>
                  <a:pt x="100" y="200"/>
                  <a:pt x="100" y="200"/>
                </a:cubicBezTo>
                <a:cubicBezTo>
                  <a:pt x="100" y="200"/>
                  <a:pt x="100" y="200"/>
                  <a:pt x="100" y="200"/>
                </a:cubicBezTo>
                <a:cubicBezTo>
                  <a:pt x="100" y="200"/>
                  <a:pt x="100" y="200"/>
                  <a:pt x="100" y="200"/>
                </a:cubicBezTo>
                <a:cubicBezTo>
                  <a:pt x="155" y="200"/>
                  <a:pt x="200" y="155"/>
                  <a:pt x="200" y="100"/>
                </a:cubicBezTo>
                <a:cubicBezTo>
                  <a:pt x="200" y="44"/>
                  <a:pt x="155" y="0"/>
                  <a:pt x="100" y="0"/>
                </a:cubicBezTo>
                <a:close/>
                <a:moveTo>
                  <a:pt x="104" y="59"/>
                </a:moveTo>
                <a:cubicBezTo>
                  <a:pt x="115" y="59"/>
                  <a:pt x="125" y="58"/>
                  <a:pt x="135" y="55"/>
                </a:cubicBezTo>
                <a:cubicBezTo>
                  <a:pt x="138" y="67"/>
                  <a:pt x="140" y="81"/>
                  <a:pt x="140" y="96"/>
                </a:cubicBezTo>
                <a:cubicBezTo>
                  <a:pt x="104" y="96"/>
                  <a:pt x="104" y="96"/>
                  <a:pt x="104" y="96"/>
                </a:cubicBezTo>
                <a:lnTo>
                  <a:pt x="104" y="59"/>
                </a:lnTo>
                <a:close/>
                <a:moveTo>
                  <a:pt x="104" y="51"/>
                </a:moveTo>
                <a:cubicBezTo>
                  <a:pt x="104" y="8"/>
                  <a:pt x="104" y="8"/>
                  <a:pt x="104" y="8"/>
                </a:cubicBezTo>
                <a:cubicBezTo>
                  <a:pt x="115" y="11"/>
                  <a:pt x="126" y="26"/>
                  <a:pt x="133" y="48"/>
                </a:cubicBezTo>
                <a:cubicBezTo>
                  <a:pt x="123" y="50"/>
                  <a:pt x="114" y="51"/>
                  <a:pt x="104" y="51"/>
                </a:cubicBezTo>
                <a:close/>
                <a:moveTo>
                  <a:pt x="96" y="8"/>
                </a:moveTo>
                <a:cubicBezTo>
                  <a:pt x="96" y="51"/>
                  <a:pt x="96" y="51"/>
                  <a:pt x="96" y="51"/>
                </a:cubicBezTo>
                <a:cubicBezTo>
                  <a:pt x="86" y="51"/>
                  <a:pt x="76" y="50"/>
                  <a:pt x="67" y="48"/>
                </a:cubicBezTo>
                <a:cubicBezTo>
                  <a:pt x="74" y="25"/>
                  <a:pt x="85" y="11"/>
                  <a:pt x="96" y="8"/>
                </a:cubicBezTo>
                <a:close/>
                <a:moveTo>
                  <a:pt x="96" y="59"/>
                </a:moveTo>
                <a:cubicBezTo>
                  <a:pt x="96" y="96"/>
                  <a:pt x="96" y="96"/>
                  <a:pt x="96" y="96"/>
                </a:cubicBezTo>
                <a:cubicBezTo>
                  <a:pt x="60" y="96"/>
                  <a:pt x="60" y="96"/>
                  <a:pt x="60" y="96"/>
                </a:cubicBezTo>
                <a:cubicBezTo>
                  <a:pt x="60" y="81"/>
                  <a:pt x="62" y="67"/>
                  <a:pt x="65" y="55"/>
                </a:cubicBezTo>
                <a:cubicBezTo>
                  <a:pt x="75" y="58"/>
                  <a:pt x="85" y="59"/>
                  <a:pt x="96" y="59"/>
                </a:cubicBezTo>
                <a:close/>
                <a:moveTo>
                  <a:pt x="52" y="96"/>
                </a:moveTo>
                <a:cubicBezTo>
                  <a:pt x="8" y="96"/>
                  <a:pt x="8" y="96"/>
                  <a:pt x="8" y="96"/>
                </a:cubicBezTo>
                <a:cubicBezTo>
                  <a:pt x="9" y="75"/>
                  <a:pt x="17" y="56"/>
                  <a:pt x="29" y="41"/>
                </a:cubicBezTo>
                <a:cubicBezTo>
                  <a:pt x="38" y="46"/>
                  <a:pt x="47" y="50"/>
                  <a:pt x="57" y="53"/>
                </a:cubicBezTo>
                <a:cubicBezTo>
                  <a:pt x="54" y="66"/>
                  <a:pt x="52" y="80"/>
                  <a:pt x="52" y="96"/>
                </a:cubicBezTo>
                <a:close/>
                <a:moveTo>
                  <a:pt x="52" y="104"/>
                </a:moveTo>
                <a:cubicBezTo>
                  <a:pt x="52" y="119"/>
                  <a:pt x="54" y="133"/>
                  <a:pt x="57" y="146"/>
                </a:cubicBezTo>
                <a:cubicBezTo>
                  <a:pt x="47" y="149"/>
                  <a:pt x="38" y="153"/>
                  <a:pt x="29" y="158"/>
                </a:cubicBezTo>
                <a:cubicBezTo>
                  <a:pt x="17" y="143"/>
                  <a:pt x="9" y="124"/>
                  <a:pt x="8" y="104"/>
                </a:cubicBezTo>
                <a:lnTo>
                  <a:pt x="52" y="104"/>
                </a:lnTo>
                <a:close/>
                <a:moveTo>
                  <a:pt x="60" y="104"/>
                </a:moveTo>
                <a:cubicBezTo>
                  <a:pt x="96" y="104"/>
                  <a:pt x="96" y="104"/>
                  <a:pt x="96" y="104"/>
                </a:cubicBezTo>
                <a:cubicBezTo>
                  <a:pt x="96" y="140"/>
                  <a:pt x="96" y="140"/>
                  <a:pt x="96" y="140"/>
                </a:cubicBezTo>
                <a:cubicBezTo>
                  <a:pt x="85" y="140"/>
                  <a:pt x="75" y="141"/>
                  <a:pt x="65" y="144"/>
                </a:cubicBezTo>
                <a:cubicBezTo>
                  <a:pt x="62" y="132"/>
                  <a:pt x="60" y="118"/>
                  <a:pt x="60" y="104"/>
                </a:cubicBezTo>
                <a:close/>
                <a:moveTo>
                  <a:pt x="96" y="148"/>
                </a:moveTo>
                <a:cubicBezTo>
                  <a:pt x="96" y="191"/>
                  <a:pt x="96" y="191"/>
                  <a:pt x="96" y="191"/>
                </a:cubicBezTo>
                <a:cubicBezTo>
                  <a:pt x="85" y="188"/>
                  <a:pt x="74" y="174"/>
                  <a:pt x="67" y="152"/>
                </a:cubicBezTo>
                <a:cubicBezTo>
                  <a:pt x="76" y="149"/>
                  <a:pt x="86" y="148"/>
                  <a:pt x="96" y="148"/>
                </a:cubicBezTo>
                <a:close/>
                <a:moveTo>
                  <a:pt x="104" y="191"/>
                </a:moveTo>
                <a:cubicBezTo>
                  <a:pt x="104" y="148"/>
                  <a:pt x="104" y="148"/>
                  <a:pt x="104" y="148"/>
                </a:cubicBezTo>
                <a:cubicBezTo>
                  <a:pt x="114" y="148"/>
                  <a:pt x="123" y="149"/>
                  <a:pt x="133" y="152"/>
                </a:cubicBezTo>
                <a:cubicBezTo>
                  <a:pt x="126" y="174"/>
                  <a:pt x="115" y="188"/>
                  <a:pt x="104" y="191"/>
                </a:cubicBezTo>
                <a:close/>
                <a:moveTo>
                  <a:pt x="104" y="140"/>
                </a:moveTo>
                <a:cubicBezTo>
                  <a:pt x="104" y="104"/>
                  <a:pt x="104" y="104"/>
                  <a:pt x="104" y="104"/>
                </a:cubicBezTo>
                <a:cubicBezTo>
                  <a:pt x="140" y="104"/>
                  <a:pt x="140" y="104"/>
                  <a:pt x="140" y="104"/>
                </a:cubicBezTo>
                <a:cubicBezTo>
                  <a:pt x="140" y="118"/>
                  <a:pt x="138" y="132"/>
                  <a:pt x="135" y="144"/>
                </a:cubicBezTo>
                <a:cubicBezTo>
                  <a:pt x="125" y="141"/>
                  <a:pt x="115" y="140"/>
                  <a:pt x="104" y="140"/>
                </a:cubicBezTo>
                <a:close/>
                <a:moveTo>
                  <a:pt x="148" y="104"/>
                </a:moveTo>
                <a:cubicBezTo>
                  <a:pt x="192" y="104"/>
                  <a:pt x="192" y="104"/>
                  <a:pt x="192" y="104"/>
                </a:cubicBezTo>
                <a:cubicBezTo>
                  <a:pt x="191" y="124"/>
                  <a:pt x="183" y="143"/>
                  <a:pt x="171" y="158"/>
                </a:cubicBezTo>
                <a:cubicBezTo>
                  <a:pt x="162" y="153"/>
                  <a:pt x="153" y="149"/>
                  <a:pt x="143" y="146"/>
                </a:cubicBezTo>
                <a:cubicBezTo>
                  <a:pt x="146" y="133"/>
                  <a:pt x="148" y="119"/>
                  <a:pt x="148" y="104"/>
                </a:cubicBezTo>
                <a:close/>
                <a:moveTo>
                  <a:pt x="148" y="96"/>
                </a:moveTo>
                <a:cubicBezTo>
                  <a:pt x="148" y="80"/>
                  <a:pt x="146" y="66"/>
                  <a:pt x="143" y="53"/>
                </a:cubicBezTo>
                <a:cubicBezTo>
                  <a:pt x="153" y="50"/>
                  <a:pt x="162" y="46"/>
                  <a:pt x="171" y="41"/>
                </a:cubicBezTo>
                <a:cubicBezTo>
                  <a:pt x="183" y="56"/>
                  <a:pt x="191" y="75"/>
                  <a:pt x="192" y="96"/>
                </a:cubicBezTo>
                <a:lnTo>
                  <a:pt x="148" y="96"/>
                </a:lnTo>
                <a:close/>
                <a:moveTo>
                  <a:pt x="166" y="35"/>
                </a:moveTo>
                <a:cubicBezTo>
                  <a:pt x="158" y="39"/>
                  <a:pt x="149" y="43"/>
                  <a:pt x="140" y="46"/>
                </a:cubicBezTo>
                <a:cubicBezTo>
                  <a:pt x="136" y="30"/>
                  <a:pt x="129" y="18"/>
                  <a:pt x="121" y="10"/>
                </a:cubicBezTo>
                <a:cubicBezTo>
                  <a:pt x="138" y="14"/>
                  <a:pt x="154" y="23"/>
                  <a:pt x="166" y="35"/>
                </a:cubicBezTo>
                <a:close/>
                <a:moveTo>
                  <a:pt x="78" y="10"/>
                </a:moveTo>
                <a:cubicBezTo>
                  <a:pt x="71" y="18"/>
                  <a:pt x="64" y="30"/>
                  <a:pt x="59" y="45"/>
                </a:cubicBezTo>
                <a:cubicBezTo>
                  <a:pt x="51" y="43"/>
                  <a:pt x="42" y="39"/>
                  <a:pt x="34" y="35"/>
                </a:cubicBezTo>
                <a:cubicBezTo>
                  <a:pt x="46" y="23"/>
                  <a:pt x="61" y="14"/>
                  <a:pt x="78" y="10"/>
                </a:cubicBezTo>
                <a:close/>
                <a:moveTo>
                  <a:pt x="34" y="164"/>
                </a:moveTo>
                <a:cubicBezTo>
                  <a:pt x="42" y="160"/>
                  <a:pt x="51" y="156"/>
                  <a:pt x="59" y="154"/>
                </a:cubicBezTo>
                <a:cubicBezTo>
                  <a:pt x="64" y="169"/>
                  <a:pt x="71" y="181"/>
                  <a:pt x="78" y="189"/>
                </a:cubicBezTo>
                <a:cubicBezTo>
                  <a:pt x="61" y="185"/>
                  <a:pt x="46" y="176"/>
                  <a:pt x="34" y="164"/>
                </a:cubicBezTo>
                <a:close/>
                <a:moveTo>
                  <a:pt x="121" y="189"/>
                </a:moveTo>
                <a:cubicBezTo>
                  <a:pt x="129" y="181"/>
                  <a:pt x="136" y="169"/>
                  <a:pt x="140" y="154"/>
                </a:cubicBezTo>
                <a:cubicBezTo>
                  <a:pt x="149" y="156"/>
                  <a:pt x="158" y="160"/>
                  <a:pt x="166" y="164"/>
                </a:cubicBezTo>
                <a:cubicBezTo>
                  <a:pt x="154" y="176"/>
                  <a:pt x="138" y="185"/>
                  <a:pt x="121" y="189"/>
                </a:cubicBezTo>
                <a:close/>
              </a:path>
            </a:pathLst>
          </a:custGeom>
          <a:solidFill>
            <a:schemeClr val="bg1"/>
          </a:solidFill>
          <a:ln w="12700">
            <a:solidFill>
              <a:schemeClr val="bg2"/>
            </a:solidFill>
          </a:ln>
        </p:spPr>
        <p:txBody>
          <a:bodyPr vert="horz" wrap="square" lIns="45732" tIns="22866" rIns="45732" bIns="22866" numCol="1" anchor="t" anchorCtr="0" compatLnSpc="1">
            <a:prstTxWarp prst="textNoShape">
              <a:avLst/>
            </a:prstTxWarp>
          </a:bodyPr>
          <a:lstStyle/>
          <a:p>
            <a:endParaRPr lang="en-US" sz="1801" dirty="0">
              <a:latin typeface="Raleway Light" panose="020B0403030101060003" pitchFamily="34" charset="77"/>
            </a:endParaRPr>
          </a:p>
        </p:txBody>
      </p:sp>
      <p:sp>
        <p:nvSpPr>
          <p:cNvPr id="39" name="Text Placeholder 7">
            <a:extLst>
              <a:ext uri="{FF2B5EF4-FFF2-40B4-BE49-F238E27FC236}">
                <a16:creationId xmlns:a16="http://schemas.microsoft.com/office/drawing/2014/main" id="{1D061BAC-C8D3-CE40-9A2C-2157A09B6A5A}"/>
              </a:ext>
            </a:extLst>
          </p:cNvPr>
          <p:cNvSpPr>
            <a:spLocks noGrp="1"/>
          </p:cNvSpPr>
          <p:nvPr>
            <p:ph type="body" sz="quarter" idx="14" hasCustomPrompt="1"/>
          </p:nvPr>
        </p:nvSpPr>
        <p:spPr>
          <a:xfrm>
            <a:off x="908050" y="1069464"/>
            <a:ext cx="6611638" cy="604301"/>
          </a:xfrm>
          <a:prstGeom prst="rect">
            <a:avLst/>
          </a:prstGeom>
        </p:spPr>
        <p:txBody>
          <a:bodyPr>
            <a:noAutofit/>
          </a:bodyPr>
          <a:lstStyle>
            <a:lvl1pPr marL="0" indent="0">
              <a:buNone/>
              <a:defRPr sz="4800" b="1">
                <a:solidFill>
                  <a:schemeClr val="bg1"/>
                </a:solidFill>
              </a:defRPr>
            </a:lvl1pPr>
          </a:lstStyle>
          <a:p>
            <a:r>
              <a:rPr lang="en-US" dirty="0"/>
              <a:t>Thank You!</a:t>
            </a:r>
          </a:p>
        </p:txBody>
      </p:sp>
      <p:pic>
        <p:nvPicPr>
          <p:cNvPr id="31" name="Picture 30">
            <a:extLst>
              <a:ext uri="{FF2B5EF4-FFF2-40B4-BE49-F238E27FC236}">
                <a16:creationId xmlns:a16="http://schemas.microsoft.com/office/drawing/2014/main" id="{2B08C55C-D0CF-724B-B4EE-8E072E7B5C03}"/>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96546" y="299377"/>
            <a:ext cx="1288232" cy="1288232"/>
          </a:xfrm>
          <a:prstGeom prst="rect">
            <a:avLst/>
          </a:prstGeom>
        </p:spPr>
      </p:pic>
    </p:spTree>
    <p:extLst>
      <p:ext uri="{BB962C8B-B14F-4D97-AF65-F5344CB8AC3E}">
        <p14:creationId xmlns:p14="http://schemas.microsoft.com/office/powerpoint/2010/main" val="2360077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7_Cover Option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08265" y="1069465"/>
            <a:ext cx="3601587" cy="712893"/>
          </a:xfrm>
        </p:spPr>
        <p:txBody>
          <a:bodyPr>
            <a:normAutofit/>
          </a:bodyPr>
          <a:lstStyle>
            <a:lvl1pPr algn="l">
              <a:defRPr sz="5067" b="1">
                <a:solidFill>
                  <a:schemeClr val="bg1"/>
                </a:solidFill>
                <a:latin typeface="+mn-lt"/>
              </a:defRPr>
            </a:lvl1pPr>
          </a:lstStyle>
          <a:p>
            <a:r>
              <a:rPr lang="en-US" dirty="0"/>
              <a:t>Thank You!</a:t>
            </a:r>
          </a:p>
        </p:txBody>
      </p:sp>
      <p:sp>
        <p:nvSpPr>
          <p:cNvPr id="26" name="Trapezoid 5">
            <a:extLst>
              <a:ext uri="{FF2B5EF4-FFF2-40B4-BE49-F238E27FC236}">
                <a16:creationId xmlns:a16="http://schemas.microsoft.com/office/drawing/2014/main" id="{72F83640-6433-1F4E-A2E6-8F9662D4DCDB}"/>
              </a:ext>
            </a:extLst>
          </p:cNvPr>
          <p:cNvSpPr/>
          <p:nvPr userDrawn="1"/>
        </p:nvSpPr>
        <p:spPr>
          <a:xfrm rot="10800000">
            <a:off x="3992211" y="-11575"/>
            <a:ext cx="5744051" cy="6869576"/>
          </a:xfrm>
          <a:custGeom>
            <a:avLst/>
            <a:gdLst>
              <a:gd name="connsiteX0" fmla="*/ 0 w 9601200"/>
              <a:gd name="connsiteY0" fmla="*/ 6869576 h 6869576"/>
              <a:gd name="connsiteX1" fmla="*/ 1717394 w 9601200"/>
              <a:gd name="connsiteY1" fmla="*/ 0 h 6869576"/>
              <a:gd name="connsiteX2" fmla="*/ 7883806 w 9601200"/>
              <a:gd name="connsiteY2" fmla="*/ 0 h 6869576"/>
              <a:gd name="connsiteX3" fmla="*/ 9601200 w 9601200"/>
              <a:gd name="connsiteY3" fmla="*/ 6869576 h 6869576"/>
              <a:gd name="connsiteX4" fmla="*/ 0 w 9601200"/>
              <a:gd name="connsiteY4" fmla="*/ 6869576 h 6869576"/>
              <a:gd name="connsiteX0" fmla="*/ 0 w 9611006"/>
              <a:gd name="connsiteY0" fmla="*/ 6869576 h 6869576"/>
              <a:gd name="connsiteX1" fmla="*/ 1717394 w 9611006"/>
              <a:gd name="connsiteY1" fmla="*/ 0 h 6869576"/>
              <a:gd name="connsiteX2" fmla="*/ 9611006 w 9611006"/>
              <a:gd name="connsiteY2" fmla="*/ 0 h 6869576"/>
              <a:gd name="connsiteX3" fmla="*/ 9601200 w 9611006"/>
              <a:gd name="connsiteY3" fmla="*/ 6869576 h 6869576"/>
              <a:gd name="connsiteX4" fmla="*/ 0 w 9611006"/>
              <a:gd name="connsiteY4" fmla="*/ 6869576 h 6869576"/>
              <a:gd name="connsiteX0" fmla="*/ 0 w 9611006"/>
              <a:gd name="connsiteY0" fmla="*/ 6869576 h 6869576"/>
              <a:gd name="connsiteX1" fmla="*/ 777594 w 9611006"/>
              <a:gd name="connsiteY1" fmla="*/ 0 h 6869576"/>
              <a:gd name="connsiteX2" fmla="*/ 9611006 w 9611006"/>
              <a:gd name="connsiteY2" fmla="*/ 0 h 6869576"/>
              <a:gd name="connsiteX3" fmla="*/ 9601200 w 9611006"/>
              <a:gd name="connsiteY3" fmla="*/ 6869576 h 6869576"/>
              <a:gd name="connsiteX4" fmla="*/ 0 w 9611006"/>
              <a:gd name="connsiteY4" fmla="*/ 6869576 h 6869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11006" h="6869576">
                <a:moveTo>
                  <a:pt x="0" y="6869576"/>
                </a:moveTo>
                <a:lnTo>
                  <a:pt x="777594" y="0"/>
                </a:lnTo>
                <a:lnTo>
                  <a:pt x="9611006" y="0"/>
                </a:lnTo>
                <a:cubicBezTo>
                  <a:pt x="9607737" y="2289859"/>
                  <a:pt x="9604469" y="4579717"/>
                  <a:pt x="9601200" y="6869576"/>
                </a:cubicBezTo>
                <a:lnTo>
                  <a:pt x="0" y="6869576"/>
                </a:lnTo>
                <a:close/>
              </a:path>
            </a:pathLst>
          </a:custGeom>
          <a:solidFill>
            <a:srgbClr val="97DF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rapezoid 5">
            <a:extLst>
              <a:ext uri="{FF2B5EF4-FFF2-40B4-BE49-F238E27FC236}">
                <a16:creationId xmlns:a16="http://schemas.microsoft.com/office/drawing/2014/main" id="{A93719EF-6C3A-6E44-9C2A-9C731ECE8637}"/>
              </a:ext>
            </a:extLst>
          </p:cNvPr>
          <p:cNvSpPr/>
          <p:nvPr userDrawn="1"/>
        </p:nvSpPr>
        <p:spPr>
          <a:xfrm rot="10800000">
            <a:off x="-15798" y="-11576"/>
            <a:ext cx="9743998" cy="6869576"/>
          </a:xfrm>
          <a:custGeom>
            <a:avLst/>
            <a:gdLst>
              <a:gd name="connsiteX0" fmla="*/ 0 w 9601200"/>
              <a:gd name="connsiteY0" fmla="*/ 6869576 h 6869576"/>
              <a:gd name="connsiteX1" fmla="*/ 1717394 w 9601200"/>
              <a:gd name="connsiteY1" fmla="*/ 0 h 6869576"/>
              <a:gd name="connsiteX2" fmla="*/ 7883806 w 9601200"/>
              <a:gd name="connsiteY2" fmla="*/ 0 h 6869576"/>
              <a:gd name="connsiteX3" fmla="*/ 9601200 w 9601200"/>
              <a:gd name="connsiteY3" fmla="*/ 6869576 h 6869576"/>
              <a:gd name="connsiteX4" fmla="*/ 0 w 9601200"/>
              <a:gd name="connsiteY4" fmla="*/ 6869576 h 6869576"/>
              <a:gd name="connsiteX0" fmla="*/ 0 w 9611006"/>
              <a:gd name="connsiteY0" fmla="*/ 6869576 h 6869576"/>
              <a:gd name="connsiteX1" fmla="*/ 1717394 w 9611006"/>
              <a:gd name="connsiteY1" fmla="*/ 0 h 6869576"/>
              <a:gd name="connsiteX2" fmla="*/ 9611006 w 9611006"/>
              <a:gd name="connsiteY2" fmla="*/ 0 h 6869576"/>
              <a:gd name="connsiteX3" fmla="*/ 9601200 w 9611006"/>
              <a:gd name="connsiteY3" fmla="*/ 6869576 h 6869576"/>
              <a:gd name="connsiteX4" fmla="*/ 0 w 9611006"/>
              <a:gd name="connsiteY4" fmla="*/ 6869576 h 6869576"/>
              <a:gd name="connsiteX0" fmla="*/ 0 w 9611006"/>
              <a:gd name="connsiteY0" fmla="*/ 6869576 h 6869576"/>
              <a:gd name="connsiteX1" fmla="*/ 777594 w 9611006"/>
              <a:gd name="connsiteY1" fmla="*/ 0 h 6869576"/>
              <a:gd name="connsiteX2" fmla="*/ 9611006 w 9611006"/>
              <a:gd name="connsiteY2" fmla="*/ 0 h 6869576"/>
              <a:gd name="connsiteX3" fmla="*/ 9601200 w 9611006"/>
              <a:gd name="connsiteY3" fmla="*/ 6869576 h 6869576"/>
              <a:gd name="connsiteX4" fmla="*/ 0 w 9611006"/>
              <a:gd name="connsiteY4" fmla="*/ 6869576 h 6869576"/>
              <a:gd name="connsiteX0" fmla="*/ 0 w 9638997"/>
              <a:gd name="connsiteY0" fmla="*/ 6869576 h 6869576"/>
              <a:gd name="connsiteX1" fmla="*/ 777594 w 9638997"/>
              <a:gd name="connsiteY1" fmla="*/ 0 h 6869576"/>
              <a:gd name="connsiteX2" fmla="*/ 9611006 w 9638997"/>
              <a:gd name="connsiteY2" fmla="*/ 0 h 6869576"/>
              <a:gd name="connsiteX3" fmla="*/ 9638778 w 9638997"/>
              <a:gd name="connsiteY3" fmla="*/ 6869576 h 6869576"/>
              <a:gd name="connsiteX4" fmla="*/ 0 w 9638997"/>
              <a:gd name="connsiteY4" fmla="*/ 6869576 h 6869576"/>
              <a:gd name="connsiteX0" fmla="*/ 0 w 9626587"/>
              <a:gd name="connsiteY0" fmla="*/ 6869576 h 6869576"/>
              <a:gd name="connsiteX1" fmla="*/ 777594 w 9626587"/>
              <a:gd name="connsiteY1" fmla="*/ 0 h 6869576"/>
              <a:gd name="connsiteX2" fmla="*/ 9611006 w 9626587"/>
              <a:gd name="connsiteY2" fmla="*/ 0 h 6869576"/>
              <a:gd name="connsiteX3" fmla="*/ 9626252 w 9626587"/>
              <a:gd name="connsiteY3" fmla="*/ 6869576 h 6869576"/>
              <a:gd name="connsiteX4" fmla="*/ 0 w 9626587"/>
              <a:gd name="connsiteY4" fmla="*/ 6869576 h 6869576"/>
              <a:gd name="connsiteX0" fmla="*/ 0 w 9611006"/>
              <a:gd name="connsiteY0" fmla="*/ 6869576 h 6869576"/>
              <a:gd name="connsiteX1" fmla="*/ 777594 w 9611006"/>
              <a:gd name="connsiteY1" fmla="*/ 0 h 6869576"/>
              <a:gd name="connsiteX2" fmla="*/ 9611006 w 9611006"/>
              <a:gd name="connsiteY2" fmla="*/ 0 h 6869576"/>
              <a:gd name="connsiteX3" fmla="*/ 9588675 w 9611006"/>
              <a:gd name="connsiteY3" fmla="*/ 6856876 h 6869576"/>
              <a:gd name="connsiteX4" fmla="*/ 0 w 9611006"/>
              <a:gd name="connsiteY4" fmla="*/ 6869576 h 6869576"/>
              <a:gd name="connsiteX0" fmla="*/ 0 w 9626587"/>
              <a:gd name="connsiteY0" fmla="*/ 6869576 h 6869576"/>
              <a:gd name="connsiteX1" fmla="*/ 777594 w 9626587"/>
              <a:gd name="connsiteY1" fmla="*/ 0 h 6869576"/>
              <a:gd name="connsiteX2" fmla="*/ 9611006 w 9626587"/>
              <a:gd name="connsiteY2" fmla="*/ 0 h 6869576"/>
              <a:gd name="connsiteX3" fmla="*/ 9626252 w 9626587"/>
              <a:gd name="connsiteY3" fmla="*/ 6856876 h 6869576"/>
              <a:gd name="connsiteX4" fmla="*/ 0 w 9626587"/>
              <a:gd name="connsiteY4" fmla="*/ 6869576 h 6869576"/>
              <a:gd name="connsiteX0" fmla="*/ 0 w 9626587"/>
              <a:gd name="connsiteY0" fmla="*/ 6869576 h 6882276"/>
              <a:gd name="connsiteX1" fmla="*/ 777594 w 9626587"/>
              <a:gd name="connsiteY1" fmla="*/ 0 h 6882276"/>
              <a:gd name="connsiteX2" fmla="*/ 9611006 w 9626587"/>
              <a:gd name="connsiteY2" fmla="*/ 0 h 6882276"/>
              <a:gd name="connsiteX3" fmla="*/ 9626252 w 9626587"/>
              <a:gd name="connsiteY3" fmla="*/ 6882276 h 6882276"/>
              <a:gd name="connsiteX4" fmla="*/ 0 w 9626587"/>
              <a:gd name="connsiteY4" fmla="*/ 6869576 h 6882276"/>
              <a:gd name="connsiteX0" fmla="*/ 0 w 9626587"/>
              <a:gd name="connsiteY0" fmla="*/ 6869576 h 6869576"/>
              <a:gd name="connsiteX1" fmla="*/ 777594 w 9626587"/>
              <a:gd name="connsiteY1" fmla="*/ 0 h 6869576"/>
              <a:gd name="connsiteX2" fmla="*/ 9611006 w 9626587"/>
              <a:gd name="connsiteY2" fmla="*/ 0 h 6869576"/>
              <a:gd name="connsiteX3" fmla="*/ 9626252 w 9626587"/>
              <a:gd name="connsiteY3" fmla="*/ 6844176 h 6869576"/>
              <a:gd name="connsiteX4" fmla="*/ 0 w 9626587"/>
              <a:gd name="connsiteY4" fmla="*/ 6869576 h 6869576"/>
              <a:gd name="connsiteX0" fmla="*/ 0 w 9626587"/>
              <a:gd name="connsiteY0" fmla="*/ 6869576 h 6869576"/>
              <a:gd name="connsiteX1" fmla="*/ 777594 w 9626587"/>
              <a:gd name="connsiteY1" fmla="*/ 0 h 6869576"/>
              <a:gd name="connsiteX2" fmla="*/ 9611006 w 9626587"/>
              <a:gd name="connsiteY2" fmla="*/ 0 h 6869576"/>
              <a:gd name="connsiteX3" fmla="*/ 9626252 w 9626587"/>
              <a:gd name="connsiteY3" fmla="*/ 6856876 h 6869576"/>
              <a:gd name="connsiteX4" fmla="*/ 0 w 9626587"/>
              <a:gd name="connsiteY4" fmla="*/ 6869576 h 6869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6587" h="6869576">
                <a:moveTo>
                  <a:pt x="0" y="6869576"/>
                </a:moveTo>
                <a:lnTo>
                  <a:pt x="777594" y="0"/>
                </a:lnTo>
                <a:lnTo>
                  <a:pt x="9611006" y="0"/>
                </a:lnTo>
                <a:cubicBezTo>
                  <a:pt x="9607737" y="2289859"/>
                  <a:pt x="9629521" y="4567017"/>
                  <a:pt x="9626252" y="6856876"/>
                </a:cubicBezTo>
                <a:lnTo>
                  <a:pt x="0" y="6869576"/>
                </a:lnTo>
                <a:close/>
              </a:path>
            </a:pathLst>
          </a:custGeom>
          <a:gradFill>
            <a:gsLst>
              <a:gs pos="0">
                <a:srgbClr val="265088"/>
              </a:gs>
              <a:gs pos="100000">
                <a:srgbClr val="00B8B0"/>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a:xfrm>
            <a:off x="908265" y="1941948"/>
            <a:ext cx="6611424" cy="505732"/>
          </a:xfrm>
          <a:prstGeom prst="rect">
            <a:avLst/>
          </a:prstGeom>
        </p:spPr>
        <p:txBody>
          <a:bodyPr>
            <a:noAutofit/>
          </a:bodyPr>
          <a:lstStyle>
            <a:lvl1pPr marL="0" indent="0" algn="l">
              <a:buNone/>
              <a:defRPr sz="2800" b="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Name</a:t>
            </a:r>
          </a:p>
        </p:txBody>
      </p:sp>
      <p:sp>
        <p:nvSpPr>
          <p:cNvPr id="4" name="TextBox 3"/>
          <p:cNvSpPr txBox="1"/>
          <p:nvPr userDrawn="1"/>
        </p:nvSpPr>
        <p:spPr>
          <a:xfrm>
            <a:off x="857301" y="5935507"/>
            <a:ext cx="9652000" cy="707886"/>
          </a:xfrm>
          <a:prstGeom prst="rect">
            <a:avLst/>
          </a:prstGeom>
          <a:noFill/>
        </p:spPr>
        <p:txBody>
          <a:bodyPr wrap="square" rtlCol="0">
            <a:spAutoFit/>
          </a:bodyPr>
          <a:lstStyle/>
          <a:p>
            <a:r>
              <a:rPr lang="en-US" sz="1000" kern="1200" dirty="0">
                <a:solidFill>
                  <a:schemeClr val="bg1"/>
                </a:solidFill>
                <a:effectLst/>
                <a:latin typeface="+mn-lt"/>
                <a:ea typeface="+mn-ea"/>
                <a:cs typeface="+mn-cs"/>
              </a:rPr>
              <a:t>Source: 2021 STR, LLC / STR Global, Ltd. trading as "STR". © CoStar Realty Information, Inc.  </a:t>
            </a:r>
            <a:br>
              <a:rPr lang="en-US" sz="1000" kern="1200" dirty="0">
                <a:solidFill>
                  <a:schemeClr val="bg1"/>
                </a:solidFill>
                <a:effectLst/>
                <a:latin typeface="+mn-lt"/>
                <a:ea typeface="+mn-ea"/>
                <a:cs typeface="+mn-cs"/>
              </a:rPr>
            </a:br>
            <a:r>
              <a:rPr lang="en-US" sz="1000" kern="1200" dirty="0">
                <a:solidFill>
                  <a:schemeClr val="bg1"/>
                </a:solidFill>
                <a:effectLst/>
                <a:latin typeface="+mn-lt"/>
                <a:ea typeface="+mn-ea"/>
                <a:cs typeface="+mn-cs"/>
              </a:rPr>
              <a:t>Any reprint, use or republication of all or a part of this presentation without the prior written approval of STR is strictly prohibited.  </a:t>
            </a:r>
            <a:br>
              <a:rPr lang="en-US" sz="1000" kern="1200" dirty="0">
                <a:solidFill>
                  <a:schemeClr val="bg1"/>
                </a:solidFill>
                <a:effectLst/>
                <a:latin typeface="+mn-lt"/>
                <a:ea typeface="+mn-ea"/>
                <a:cs typeface="+mn-cs"/>
              </a:rPr>
            </a:br>
            <a:r>
              <a:rPr lang="en-US" sz="1000" kern="1200" dirty="0">
                <a:solidFill>
                  <a:schemeClr val="bg1"/>
                </a:solidFill>
                <a:effectLst/>
                <a:latin typeface="+mn-lt"/>
                <a:ea typeface="+mn-ea"/>
                <a:cs typeface="+mn-cs"/>
              </a:rPr>
              <a:t>Any such reproduction shall specifically credit STR as the source.  This presentation is based on data collected by STR.  </a:t>
            </a:r>
            <a:br>
              <a:rPr lang="en-US" sz="1000" kern="1200" dirty="0">
                <a:solidFill>
                  <a:schemeClr val="bg1"/>
                </a:solidFill>
                <a:effectLst/>
                <a:latin typeface="+mn-lt"/>
                <a:ea typeface="+mn-ea"/>
                <a:cs typeface="+mn-cs"/>
              </a:rPr>
            </a:br>
            <a:r>
              <a:rPr lang="en-US" sz="1000" kern="1200" dirty="0">
                <a:solidFill>
                  <a:schemeClr val="bg1"/>
                </a:solidFill>
                <a:effectLst/>
                <a:latin typeface="+mn-lt"/>
                <a:ea typeface="+mn-ea"/>
                <a:cs typeface="+mn-cs"/>
              </a:rPr>
              <a:t>The information in the presentation should not be construed as investment, tax, accounting or legal advice.</a:t>
            </a:r>
          </a:p>
        </p:txBody>
      </p:sp>
      <p:pic>
        <p:nvPicPr>
          <p:cNvPr id="16" name="Picture 15">
            <a:extLst>
              <a:ext uri="{FF2B5EF4-FFF2-40B4-BE49-F238E27FC236}">
                <a16:creationId xmlns:a16="http://schemas.microsoft.com/office/drawing/2014/main" id="{14592B15-A237-214C-856C-E7D8FD041EA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198" y="5254960"/>
            <a:ext cx="641595" cy="528406"/>
          </a:xfrm>
          <a:prstGeom prst="rect">
            <a:avLst/>
          </a:prstGeom>
        </p:spPr>
      </p:pic>
      <p:pic>
        <p:nvPicPr>
          <p:cNvPr id="17" name="Picture 16">
            <a:extLst>
              <a:ext uri="{FF2B5EF4-FFF2-40B4-BE49-F238E27FC236}">
                <a16:creationId xmlns:a16="http://schemas.microsoft.com/office/drawing/2014/main" id="{4E09F4A4-DEE4-B34C-980E-86F8A802F27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61188" y="5260473"/>
            <a:ext cx="1688104" cy="517379"/>
          </a:xfrm>
          <a:prstGeom prst="rect">
            <a:avLst/>
          </a:prstGeom>
        </p:spPr>
      </p:pic>
      <p:pic>
        <p:nvPicPr>
          <p:cNvPr id="24" name="Picture 23">
            <a:extLst>
              <a:ext uri="{FF2B5EF4-FFF2-40B4-BE49-F238E27FC236}">
                <a16:creationId xmlns:a16="http://schemas.microsoft.com/office/drawing/2014/main" id="{C8BE4B5C-9243-034A-9A5B-299FF4EE46B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49565" y="209082"/>
            <a:ext cx="1259664" cy="1259664"/>
          </a:xfrm>
          <a:prstGeom prst="rect">
            <a:avLst/>
          </a:prstGeom>
        </p:spPr>
      </p:pic>
      <p:sp>
        <p:nvSpPr>
          <p:cNvPr id="28" name="Text Placeholder 27">
            <a:extLst>
              <a:ext uri="{FF2B5EF4-FFF2-40B4-BE49-F238E27FC236}">
                <a16:creationId xmlns:a16="http://schemas.microsoft.com/office/drawing/2014/main" id="{613233A7-B7CC-1341-B559-6120252D8B7A}"/>
              </a:ext>
            </a:extLst>
          </p:cNvPr>
          <p:cNvSpPr>
            <a:spLocks noGrp="1"/>
          </p:cNvSpPr>
          <p:nvPr>
            <p:ph type="body" sz="quarter" idx="10" hasCustomPrompt="1"/>
          </p:nvPr>
        </p:nvSpPr>
        <p:spPr>
          <a:xfrm>
            <a:off x="908085" y="2479579"/>
            <a:ext cx="6611603" cy="433551"/>
          </a:xfrm>
          <a:prstGeom prst="rect">
            <a:avLst/>
          </a:prstGeom>
        </p:spPr>
        <p:txBody>
          <a:bodyPr>
            <a:noAutofit/>
          </a:bodyPr>
          <a:lstStyle>
            <a:lvl1pPr marL="0" indent="0">
              <a:buNone/>
              <a:defRPr sz="2000">
                <a:solidFill>
                  <a:schemeClr val="bg1"/>
                </a:solidFill>
              </a:defRPr>
            </a:lvl1pPr>
          </a:lstStyle>
          <a:p>
            <a:pPr lvl="0"/>
            <a:r>
              <a:rPr lang="en-US" dirty="0"/>
              <a:t>Title</a:t>
            </a:r>
          </a:p>
        </p:txBody>
      </p:sp>
      <p:sp>
        <p:nvSpPr>
          <p:cNvPr id="11" name="TextBox 10">
            <a:extLst>
              <a:ext uri="{FF2B5EF4-FFF2-40B4-BE49-F238E27FC236}">
                <a16:creationId xmlns:a16="http://schemas.microsoft.com/office/drawing/2014/main" id="{1BD3E64A-1EE5-6A41-BA58-89EF828D48F2}"/>
              </a:ext>
            </a:extLst>
          </p:cNvPr>
          <p:cNvSpPr txBox="1"/>
          <p:nvPr userDrawn="1"/>
        </p:nvSpPr>
        <p:spPr>
          <a:xfrm>
            <a:off x="8646289" y="4988689"/>
            <a:ext cx="184731" cy="369332"/>
          </a:xfrm>
          <a:prstGeom prst="rect">
            <a:avLst/>
          </a:prstGeom>
          <a:noFill/>
        </p:spPr>
        <p:txBody>
          <a:bodyPr wrap="none" rtlCol="0">
            <a:spAutoFit/>
          </a:bodyPr>
          <a:lstStyle/>
          <a:p>
            <a:endParaRPr lang="en-US" dirty="0"/>
          </a:p>
        </p:txBody>
      </p:sp>
      <p:sp>
        <p:nvSpPr>
          <p:cNvPr id="29" name="Shape 2836">
            <a:extLst>
              <a:ext uri="{FF2B5EF4-FFF2-40B4-BE49-F238E27FC236}">
                <a16:creationId xmlns:a16="http://schemas.microsoft.com/office/drawing/2014/main" id="{33C5A4CA-0991-2143-90DE-708BA1699339}"/>
              </a:ext>
            </a:extLst>
          </p:cNvPr>
          <p:cNvSpPr/>
          <p:nvPr userDrawn="1"/>
        </p:nvSpPr>
        <p:spPr>
          <a:xfrm>
            <a:off x="3291303" y="3493803"/>
            <a:ext cx="553695" cy="402688"/>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2"/>
                  <a:pt x="19964" y="1433"/>
                </a:cubicBezTo>
                <a:lnTo>
                  <a:pt x="11465" y="13118"/>
                </a:lnTo>
                <a:cubicBezTo>
                  <a:pt x="11288" y="13362"/>
                  <a:pt x="11051" y="13497"/>
                  <a:pt x="10800" y="13497"/>
                </a:cubicBezTo>
                <a:cubicBezTo>
                  <a:pt x="10549" y="13497"/>
                  <a:pt x="10312" y="13362"/>
                  <a:pt x="10134" y="13118"/>
                </a:cubicBezTo>
                <a:lnTo>
                  <a:pt x="1637" y="1433"/>
                </a:lnTo>
                <a:cubicBezTo>
                  <a:pt x="1739" y="1382"/>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chemeClr val="bg1"/>
          </a:solidFill>
          <a:ln w="12700">
            <a:noFill/>
            <a:miter lim="400000"/>
          </a:ln>
        </p:spPr>
        <p:txBody>
          <a:bodyPr lIns="19050" tIns="19050" rIns="19050" bIns="19050" anchor="ctr"/>
          <a:lstStyle/>
          <a:p>
            <a:pPr defTabSz="22860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solidFill>
                <a:schemeClr val="bg1"/>
              </a:solidFill>
              <a:latin typeface="Open Sans Semibold" charset="0"/>
              <a:ea typeface="Open Sans Semibold" charset="0"/>
              <a:cs typeface="Open Sans Semibold" charset="0"/>
            </a:endParaRPr>
          </a:p>
        </p:txBody>
      </p:sp>
      <p:sp>
        <p:nvSpPr>
          <p:cNvPr id="30" name="Rectangle 29">
            <a:extLst>
              <a:ext uri="{FF2B5EF4-FFF2-40B4-BE49-F238E27FC236}">
                <a16:creationId xmlns:a16="http://schemas.microsoft.com/office/drawing/2014/main" id="{CD25656D-47A4-C741-9A80-E84B79ACC863}"/>
              </a:ext>
            </a:extLst>
          </p:cNvPr>
          <p:cNvSpPr/>
          <p:nvPr userDrawn="1"/>
        </p:nvSpPr>
        <p:spPr>
          <a:xfrm>
            <a:off x="908265" y="4110592"/>
            <a:ext cx="1273810" cy="338554"/>
          </a:xfrm>
          <a:prstGeom prst="rect">
            <a:avLst/>
          </a:prstGeom>
        </p:spPr>
        <p:txBody>
          <a:bodyPr wrap="none">
            <a:spAutoFit/>
          </a:bodyPr>
          <a:lstStyle/>
          <a:p>
            <a:pPr algn="ctr"/>
            <a:r>
              <a:rPr lang="en-US" sz="1600" dirty="0">
                <a:solidFill>
                  <a:schemeClr val="bg1"/>
                </a:solidFill>
                <a:latin typeface="Calibri" panose="020F0502020204030204" pitchFamily="34" charset="0"/>
                <a:ea typeface="Open Sans Light" panose="020B0306030504020204" pitchFamily="34" charset="0"/>
                <a:cs typeface="Calibri" panose="020F0502020204030204" pitchFamily="34" charset="0"/>
              </a:rPr>
              <a:t>www.str.com</a:t>
            </a:r>
          </a:p>
        </p:txBody>
      </p:sp>
      <p:sp>
        <p:nvSpPr>
          <p:cNvPr id="32" name="Freeform 54">
            <a:extLst>
              <a:ext uri="{FF2B5EF4-FFF2-40B4-BE49-F238E27FC236}">
                <a16:creationId xmlns:a16="http://schemas.microsoft.com/office/drawing/2014/main" id="{C5D627F8-B238-1A45-879B-528DE79B101D}"/>
              </a:ext>
            </a:extLst>
          </p:cNvPr>
          <p:cNvSpPr>
            <a:spLocks noEditPoints="1"/>
          </p:cNvSpPr>
          <p:nvPr userDrawn="1"/>
        </p:nvSpPr>
        <p:spPr bwMode="auto">
          <a:xfrm>
            <a:off x="1268322" y="3396597"/>
            <a:ext cx="553696" cy="553696"/>
          </a:xfrm>
          <a:custGeom>
            <a:avLst/>
            <a:gdLst>
              <a:gd name="T0" fmla="*/ 100 w 200"/>
              <a:gd name="T1" fmla="*/ 0 h 200"/>
              <a:gd name="T2" fmla="*/ 100 w 200"/>
              <a:gd name="T3" fmla="*/ 0 h 200"/>
              <a:gd name="T4" fmla="*/ 100 w 200"/>
              <a:gd name="T5" fmla="*/ 200 h 200"/>
              <a:gd name="T6" fmla="*/ 100 w 200"/>
              <a:gd name="T7" fmla="*/ 200 h 200"/>
              <a:gd name="T8" fmla="*/ 200 w 200"/>
              <a:gd name="T9" fmla="*/ 100 h 200"/>
              <a:gd name="T10" fmla="*/ 104 w 200"/>
              <a:gd name="T11" fmla="*/ 59 h 200"/>
              <a:gd name="T12" fmla="*/ 140 w 200"/>
              <a:gd name="T13" fmla="*/ 96 h 200"/>
              <a:gd name="T14" fmla="*/ 104 w 200"/>
              <a:gd name="T15" fmla="*/ 59 h 200"/>
              <a:gd name="T16" fmla="*/ 104 w 200"/>
              <a:gd name="T17" fmla="*/ 8 h 200"/>
              <a:gd name="T18" fmla="*/ 104 w 200"/>
              <a:gd name="T19" fmla="*/ 51 h 200"/>
              <a:gd name="T20" fmla="*/ 96 w 200"/>
              <a:gd name="T21" fmla="*/ 51 h 200"/>
              <a:gd name="T22" fmla="*/ 96 w 200"/>
              <a:gd name="T23" fmla="*/ 8 h 200"/>
              <a:gd name="T24" fmla="*/ 96 w 200"/>
              <a:gd name="T25" fmla="*/ 96 h 200"/>
              <a:gd name="T26" fmla="*/ 65 w 200"/>
              <a:gd name="T27" fmla="*/ 55 h 200"/>
              <a:gd name="T28" fmla="*/ 52 w 200"/>
              <a:gd name="T29" fmla="*/ 96 h 200"/>
              <a:gd name="T30" fmla="*/ 29 w 200"/>
              <a:gd name="T31" fmla="*/ 41 h 200"/>
              <a:gd name="T32" fmla="*/ 52 w 200"/>
              <a:gd name="T33" fmla="*/ 96 h 200"/>
              <a:gd name="T34" fmla="*/ 57 w 200"/>
              <a:gd name="T35" fmla="*/ 146 h 200"/>
              <a:gd name="T36" fmla="*/ 8 w 200"/>
              <a:gd name="T37" fmla="*/ 104 h 200"/>
              <a:gd name="T38" fmla="*/ 60 w 200"/>
              <a:gd name="T39" fmla="*/ 104 h 200"/>
              <a:gd name="T40" fmla="*/ 96 w 200"/>
              <a:gd name="T41" fmla="*/ 140 h 200"/>
              <a:gd name="T42" fmla="*/ 60 w 200"/>
              <a:gd name="T43" fmla="*/ 104 h 200"/>
              <a:gd name="T44" fmla="*/ 96 w 200"/>
              <a:gd name="T45" fmla="*/ 191 h 200"/>
              <a:gd name="T46" fmla="*/ 96 w 200"/>
              <a:gd name="T47" fmla="*/ 148 h 200"/>
              <a:gd name="T48" fmla="*/ 104 w 200"/>
              <a:gd name="T49" fmla="*/ 148 h 200"/>
              <a:gd name="T50" fmla="*/ 104 w 200"/>
              <a:gd name="T51" fmla="*/ 191 h 200"/>
              <a:gd name="T52" fmla="*/ 104 w 200"/>
              <a:gd name="T53" fmla="*/ 104 h 200"/>
              <a:gd name="T54" fmla="*/ 135 w 200"/>
              <a:gd name="T55" fmla="*/ 144 h 200"/>
              <a:gd name="T56" fmla="*/ 148 w 200"/>
              <a:gd name="T57" fmla="*/ 104 h 200"/>
              <a:gd name="T58" fmla="*/ 171 w 200"/>
              <a:gd name="T59" fmla="*/ 158 h 200"/>
              <a:gd name="T60" fmla="*/ 148 w 200"/>
              <a:gd name="T61" fmla="*/ 104 h 200"/>
              <a:gd name="T62" fmla="*/ 143 w 200"/>
              <a:gd name="T63" fmla="*/ 53 h 200"/>
              <a:gd name="T64" fmla="*/ 192 w 200"/>
              <a:gd name="T65" fmla="*/ 96 h 200"/>
              <a:gd name="T66" fmla="*/ 166 w 200"/>
              <a:gd name="T67" fmla="*/ 35 h 200"/>
              <a:gd name="T68" fmla="*/ 121 w 200"/>
              <a:gd name="T69" fmla="*/ 10 h 200"/>
              <a:gd name="T70" fmla="*/ 78 w 200"/>
              <a:gd name="T71" fmla="*/ 10 h 200"/>
              <a:gd name="T72" fmla="*/ 34 w 200"/>
              <a:gd name="T73" fmla="*/ 35 h 200"/>
              <a:gd name="T74" fmla="*/ 34 w 200"/>
              <a:gd name="T75" fmla="*/ 164 h 200"/>
              <a:gd name="T76" fmla="*/ 78 w 200"/>
              <a:gd name="T77" fmla="*/ 189 h 200"/>
              <a:gd name="T78" fmla="*/ 121 w 200"/>
              <a:gd name="T79" fmla="*/ 189 h 200"/>
              <a:gd name="T80" fmla="*/ 166 w 200"/>
              <a:gd name="T81" fmla="*/ 16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00">
                <a:moveTo>
                  <a:pt x="100" y="0"/>
                </a:moveTo>
                <a:cubicBezTo>
                  <a:pt x="100" y="0"/>
                  <a:pt x="100" y="0"/>
                  <a:pt x="100" y="0"/>
                </a:cubicBezTo>
                <a:cubicBezTo>
                  <a:pt x="100" y="0"/>
                  <a:pt x="100" y="0"/>
                  <a:pt x="100" y="0"/>
                </a:cubicBezTo>
                <a:cubicBezTo>
                  <a:pt x="100" y="0"/>
                  <a:pt x="100" y="0"/>
                  <a:pt x="100" y="0"/>
                </a:cubicBezTo>
                <a:cubicBezTo>
                  <a:pt x="45" y="0"/>
                  <a:pt x="0" y="44"/>
                  <a:pt x="0" y="100"/>
                </a:cubicBezTo>
                <a:cubicBezTo>
                  <a:pt x="0" y="155"/>
                  <a:pt x="45" y="199"/>
                  <a:pt x="100" y="200"/>
                </a:cubicBezTo>
                <a:cubicBezTo>
                  <a:pt x="100" y="200"/>
                  <a:pt x="100" y="200"/>
                  <a:pt x="100" y="200"/>
                </a:cubicBezTo>
                <a:cubicBezTo>
                  <a:pt x="100" y="200"/>
                  <a:pt x="100" y="200"/>
                  <a:pt x="100" y="200"/>
                </a:cubicBezTo>
                <a:cubicBezTo>
                  <a:pt x="100" y="200"/>
                  <a:pt x="100" y="200"/>
                  <a:pt x="100" y="200"/>
                </a:cubicBezTo>
                <a:cubicBezTo>
                  <a:pt x="155" y="200"/>
                  <a:pt x="200" y="155"/>
                  <a:pt x="200" y="100"/>
                </a:cubicBezTo>
                <a:cubicBezTo>
                  <a:pt x="200" y="44"/>
                  <a:pt x="155" y="0"/>
                  <a:pt x="100" y="0"/>
                </a:cubicBezTo>
                <a:close/>
                <a:moveTo>
                  <a:pt x="104" y="59"/>
                </a:moveTo>
                <a:cubicBezTo>
                  <a:pt x="115" y="59"/>
                  <a:pt x="125" y="58"/>
                  <a:pt x="135" y="55"/>
                </a:cubicBezTo>
                <a:cubicBezTo>
                  <a:pt x="138" y="67"/>
                  <a:pt x="140" y="81"/>
                  <a:pt x="140" y="96"/>
                </a:cubicBezTo>
                <a:cubicBezTo>
                  <a:pt x="104" y="96"/>
                  <a:pt x="104" y="96"/>
                  <a:pt x="104" y="96"/>
                </a:cubicBezTo>
                <a:lnTo>
                  <a:pt x="104" y="59"/>
                </a:lnTo>
                <a:close/>
                <a:moveTo>
                  <a:pt x="104" y="51"/>
                </a:moveTo>
                <a:cubicBezTo>
                  <a:pt x="104" y="8"/>
                  <a:pt x="104" y="8"/>
                  <a:pt x="104" y="8"/>
                </a:cubicBezTo>
                <a:cubicBezTo>
                  <a:pt x="115" y="11"/>
                  <a:pt x="126" y="26"/>
                  <a:pt x="133" y="48"/>
                </a:cubicBezTo>
                <a:cubicBezTo>
                  <a:pt x="123" y="50"/>
                  <a:pt x="114" y="51"/>
                  <a:pt x="104" y="51"/>
                </a:cubicBezTo>
                <a:close/>
                <a:moveTo>
                  <a:pt x="96" y="8"/>
                </a:moveTo>
                <a:cubicBezTo>
                  <a:pt x="96" y="51"/>
                  <a:pt x="96" y="51"/>
                  <a:pt x="96" y="51"/>
                </a:cubicBezTo>
                <a:cubicBezTo>
                  <a:pt x="86" y="51"/>
                  <a:pt x="76" y="50"/>
                  <a:pt x="67" y="48"/>
                </a:cubicBezTo>
                <a:cubicBezTo>
                  <a:pt x="74" y="25"/>
                  <a:pt x="85" y="11"/>
                  <a:pt x="96" y="8"/>
                </a:cubicBezTo>
                <a:close/>
                <a:moveTo>
                  <a:pt x="96" y="59"/>
                </a:moveTo>
                <a:cubicBezTo>
                  <a:pt x="96" y="96"/>
                  <a:pt x="96" y="96"/>
                  <a:pt x="96" y="96"/>
                </a:cubicBezTo>
                <a:cubicBezTo>
                  <a:pt x="60" y="96"/>
                  <a:pt x="60" y="96"/>
                  <a:pt x="60" y="96"/>
                </a:cubicBezTo>
                <a:cubicBezTo>
                  <a:pt x="60" y="81"/>
                  <a:pt x="62" y="67"/>
                  <a:pt x="65" y="55"/>
                </a:cubicBezTo>
                <a:cubicBezTo>
                  <a:pt x="75" y="58"/>
                  <a:pt x="85" y="59"/>
                  <a:pt x="96" y="59"/>
                </a:cubicBezTo>
                <a:close/>
                <a:moveTo>
                  <a:pt x="52" y="96"/>
                </a:moveTo>
                <a:cubicBezTo>
                  <a:pt x="8" y="96"/>
                  <a:pt x="8" y="96"/>
                  <a:pt x="8" y="96"/>
                </a:cubicBezTo>
                <a:cubicBezTo>
                  <a:pt x="9" y="75"/>
                  <a:pt x="17" y="56"/>
                  <a:pt x="29" y="41"/>
                </a:cubicBezTo>
                <a:cubicBezTo>
                  <a:pt x="38" y="46"/>
                  <a:pt x="47" y="50"/>
                  <a:pt x="57" y="53"/>
                </a:cubicBezTo>
                <a:cubicBezTo>
                  <a:pt x="54" y="66"/>
                  <a:pt x="52" y="80"/>
                  <a:pt x="52" y="96"/>
                </a:cubicBezTo>
                <a:close/>
                <a:moveTo>
                  <a:pt x="52" y="104"/>
                </a:moveTo>
                <a:cubicBezTo>
                  <a:pt x="52" y="119"/>
                  <a:pt x="54" y="133"/>
                  <a:pt x="57" y="146"/>
                </a:cubicBezTo>
                <a:cubicBezTo>
                  <a:pt x="47" y="149"/>
                  <a:pt x="38" y="153"/>
                  <a:pt x="29" y="158"/>
                </a:cubicBezTo>
                <a:cubicBezTo>
                  <a:pt x="17" y="143"/>
                  <a:pt x="9" y="124"/>
                  <a:pt x="8" y="104"/>
                </a:cubicBezTo>
                <a:lnTo>
                  <a:pt x="52" y="104"/>
                </a:lnTo>
                <a:close/>
                <a:moveTo>
                  <a:pt x="60" y="104"/>
                </a:moveTo>
                <a:cubicBezTo>
                  <a:pt x="96" y="104"/>
                  <a:pt x="96" y="104"/>
                  <a:pt x="96" y="104"/>
                </a:cubicBezTo>
                <a:cubicBezTo>
                  <a:pt x="96" y="140"/>
                  <a:pt x="96" y="140"/>
                  <a:pt x="96" y="140"/>
                </a:cubicBezTo>
                <a:cubicBezTo>
                  <a:pt x="85" y="140"/>
                  <a:pt x="75" y="141"/>
                  <a:pt x="65" y="144"/>
                </a:cubicBezTo>
                <a:cubicBezTo>
                  <a:pt x="62" y="132"/>
                  <a:pt x="60" y="118"/>
                  <a:pt x="60" y="104"/>
                </a:cubicBezTo>
                <a:close/>
                <a:moveTo>
                  <a:pt x="96" y="148"/>
                </a:moveTo>
                <a:cubicBezTo>
                  <a:pt x="96" y="191"/>
                  <a:pt x="96" y="191"/>
                  <a:pt x="96" y="191"/>
                </a:cubicBezTo>
                <a:cubicBezTo>
                  <a:pt x="85" y="188"/>
                  <a:pt x="74" y="174"/>
                  <a:pt x="67" y="152"/>
                </a:cubicBezTo>
                <a:cubicBezTo>
                  <a:pt x="76" y="149"/>
                  <a:pt x="86" y="148"/>
                  <a:pt x="96" y="148"/>
                </a:cubicBezTo>
                <a:close/>
                <a:moveTo>
                  <a:pt x="104" y="191"/>
                </a:moveTo>
                <a:cubicBezTo>
                  <a:pt x="104" y="148"/>
                  <a:pt x="104" y="148"/>
                  <a:pt x="104" y="148"/>
                </a:cubicBezTo>
                <a:cubicBezTo>
                  <a:pt x="114" y="148"/>
                  <a:pt x="123" y="149"/>
                  <a:pt x="133" y="152"/>
                </a:cubicBezTo>
                <a:cubicBezTo>
                  <a:pt x="126" y="174"/>
                  <a:pt x="115" y="188"/>
                  <a:pt x="104" y="191"/>
                </a:cubicBezTo>
                <a:close/>
                <a:moveTo>
                  <a:pt x="104" y="140"/>
                </a:moveTo>
                <a:cubicBezTo>
                  <a:pt x="104" y="104"/>
                  <a:pt x="104" y="104"/>
                  <a:pt x="104" y="104"/>
                </a:cubicBezTo>
                <a:cubicBezTo>
                  <a:pt x="140" y="104"/>
                  <a:pt x="140" y="104"/>
                  <a:pt x="140" y="104"/>
                </a:cubicBezTo>
                <a:cubicBezTo>
                  <a:pt x="140" y="118"/>
                  <a:pt x="138" y="132"/>
                  <a:pt x="135" y="144"/>
                </a:cubicBezTo>
                <a:cubicBezTo>
                  <a:pt x="125" y="141"/>
                  <a:pt x="115" y="140"/>
                  <a:pt x="104" y="140"/>
                </a:cubicBezTo>
                <a:close/>
                <a:moveTo>
                  <a:pt x="148" y="104"/>
                </a:moveTo>
                <a:cubicBezTo>
                  <a:pt x="192" y="104"/>
                  <a:pt x="192" y="104"/>
                  <a:pt x="192" y="104"/>
                </a:cubicBezTo>
                <a:cubicBezTo>
                  <a:pt x="191" y="124"/>
                  <a:pt x="183" y="143"/>
                  <a:pt x="171" y="158"/>
                </a:cubicBezTo>
                <a:cubicBezTo>
                  <a:pt x="162" y="153"/>
                  <a:pt x="153" y="149"/>
                  <a:pt x="143" y="146"/>
                </a:cubicBezTo>
                <a:cubicBezTo>
                  <a:pt x="146" y="133"/>
                  <a:pt x="148" y="119"/>
                  <a:pt x="148" y="104"/>
                </a:cubicBezTo>
                <a:close/>
                <a:moveTo>
                  <a:pt x="148" y="96"/>
                </a:moveTo>
                <a:cubicBezTo>
                  <a:pt x="148" y="80"/>
                  <a:pt x="146" y="66"/>
                  <a:pt x="143" y="53"/>
                </a:cubicBezTo>
                <a:cubicBezTo>
                  <a:pt x="153" y="50"/>
                  <a:pt x="162" y="46"/>
                  <a:pt x="171" y="41"/>
                </a:cubicBezTo>
                <a:cubicBezTo>
                  <a:pt x="183" y="56"/>
                  <a:pt x="191" y="75"/>
                  <a:pt x="192" y="96"/>
                </a:cubicBezTo>
                <a:lnTo>
                  <a:pt x="148" y="96"/>
                </a:lnTo>
                <a:close/>
                <a:moveTo>
                  <a:pt x="166" y="35"/>
                </a:moveTo>
                <a:cubicBezTo>
                  <a:pt x="158" y="39"/>
                  <a:pt x="149" y="43"/>
                  <a:pt x="140" y="46"/>
                </a:cubicBezTo>
                <a:cubicBezTo>
                  <a:pt x="136" y="30"/>
                  <a:pt x="129" y="18"/>
                  <a:pt x="121" y="10"/>
                </a:cubicBezTo>
                <a:cubicBezTo>
                  <a:pt x="138" y="14"/>
                  <a:pt x="154" y="23"/>
                  <a:pt x="166" y="35"/>
                </a:cubicBezTo>
                <a:close/>
                <a:moveTo>
                  <a:pt x="78" y="10"/>
                </a:moveTo>
                <a:cubicBezTo>
                  <a:pt x="71" y="18"/>
                  <a:pt x="64" y="30"/>
                  <a:pt x="59" y="45"/>
                </a:cubicBezTo>
                <a:cubicBezTo>
                  <a:pt x="51" y="43"/>
                  <a:pt x="42" y="39"/>
                  <a:pt x="34" y="35"/>
                </a:cubicBezTo>
                <a:cubicBezTo>
                  <a:pt x="46" y="23"/>
                  <a:pt x="61" y="14"/>
                  <a:pt x="78" y="10"/>
                </a:cubicBezTo>
                <a:close/>
                <a:moveTo>
                  <a:pt x="34" y="164"/>
                </a:moveTo>
                <a:cubicBezTo>
                  <a:pt x="42" y="160"/>
                  <a:pt x="51" y="156"/>
                  <a:pt x="59" y="154"/>
                </a:cubicBezTo>
                <a:cubicBezTo>
                  <a:pt x="64" y="169"/>
                  <a:pt x="71" y="181"/>
                  <a:pt x="78" y="189"/>
                </a:cubicBezTo>
                <a:cubicBezTo>
                  <a:pt x="61" y="185"/>
                  <a:pt x="46" y="176"/>
                  <a:pt x="34" y="164"/>
                </a:cubicBezTo>
                <a:close/>
                <a:moveTo>
                  <a:pt x="121" y="189"/>
                </a:moveTo>
                <a:cubicBezTo>
                  <a:pt x="129" y="181"/>
                  <a:pt x="136" y="169"/>
                  <a:pt x="140" y="154"/>
                </a:cubicBezTo>
                <a:cubicBezTo>
                  <a:pt x="149" y="156"/>
                  <a:pt x="158" y="160"/>
                  <a:pt x="166" y="164"/>
                </a:cubicBezTo>
                <a:cubicBezTo>
                  <a:pt x="154" y="176"/>
                  <a:pt x="138" y="185"/>
                  <a:pt x="121" y="189"/>
                </a:cubicBezTo>
                <a:close/>
              </a:path>
            </a:pathLst>
          </a:custGeom>
          <a:solidFill>
            <a:schemeClr val="bg1"/>
          </a:solidFill>
          <a:ln w="12700">
            <a:noFill/>
          </a:ln>
        </p:spPr>
        <p:txBody>
          <a:bodyPr vert="horz" wrap="square" lIns="45732" tIns="22866" rIns="45732" bIns="22866" numCol="1" anchor="t" anchorCtr="0" compatLnSpc="1">
            <a:prstTxWarp prst="textNoShape">
              <a:avLst/>
            </a:prstTxWarp>
          </a:bodyPr>
          <a:lstStyle/>
          <a:p>
            <a:endParaRPr lang="en-US" sz="1801" dirty="0">
              <a:latin typeface="Raleway Light" panose="020B0403030101060003" pitchFamily="34" charset="77"/>
            </a:endParaRPr>
          </a:p>
        </p:txBody>
      </p:sp>
      <p:sp>
        <p:nvSpPr>
          <p:cNvPr id="36" name="Text Placeholder 30">
            <a:extLst>
              <a:ext uri="{FF2B5EF4-FFF2-40B4-BE49-F238E27FC236}">
                <a16:creationId xmlns:a16="http://schemas.microsoft.com/office/drawing/2014/main" id="{839DA339-7523-F24A-A166-BF1A098C12A4}"/>
              </a:ext>
            </a:extLst>
          </p:cNvPr>
          <p:cNvSpPr>
            <a:spLocks noGrp="1"/>
          </p:cNvSpPr>
          <p:nvPr>
            <p:ph type="body" sz="quarter" idx="11" hasCustomPrompt="1"/>
          </p:nvPr>
        </p:nvSpPr>
        <p:spPr>
          <a:xfrm>
            <a:off x="2903396" y="4121727"/>
            <a:ext cx="1430516" cy="296862"/>
          </a:xfrm>
          <a:prstGeom prst="rect">
            <a:avLst/>
          </a:prstGeom>
        </p:spPr>
        <p:txBody>
          <a:bodyPr>
            <a:noAutofit/>
          </a:bodyPr>
          <a:lstStyle>
            <a:lvl1pPr marL="0" indent="0">
              <a:buNone/>
              <a:defRPr sz="1600">
                <a:solidFill>
                  <a:schemeClr val="bg1"/>
                </a:solidFill>
              </a:defRPr>
            </a:lvl1pPr>
          </a:lstStyle>
          <a:p>
            <a:pPr lvl="0"/>
            <a:r>
              <a:rPr lang="en-US" dirty="0" err="1"/>
              <a:t>email@str.com</a:t>
            </a:r>
            <a:endParaRPr lang="en-US" dirty="0"/>
          </a:p>
        </p:txBody>
      </p:sp>
      <p:pic>
        <p:nvPicPr>
          <p:cNvPr id="22" name="Picture 2" descr="Z:\Branding materials\Powerpoint Template\wechat.png">
            <a:extLst>
              <a:ext uri="{FF2B5EF4-FFF2-40B4-BE49-F238E27FC236}">
                <a16:creationId xmlns:a16="http://schemas.microsoft.com/office/drawing/2014/main" id="{2A95E5F4-FBA6-8543-90B9-C28332CAD244}"/>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080633" y="3445994"/>
            <a:ext cx="593014" cy="513491"/>
          </a:xfrm>
          <a:prstGeom prst="rect">
            <a:avLst/>
          </a:prstGeom>
          <a:noFill/>
          <a:extLst>
            <a:ext uri="{909E8E84-426E-40DD-AFC4-6F175D3DCCD1}">
              <a14:hiddenFill xmlns:a14="http://schemas.microsoft.com/office/drawing/2010/main">
                <a:solidFill>
                  <a:srgbClr val="FFFFFF"/>
                </a:solidFill>
              </a14:hiddenFill>
            </a:ext>
          </a:extLst>
        </p:spPr>
      </p:pic>
      <p:sp>
        <p:nvSpPr>
          <p:cNvPr id="23" name="Text Placeholder 32">
            <a:extLst>
              <a:ext uri="{FF2B5EF4-FFF2-40B4-BE49-F238E27FC236}">
                <a16:creationId xmlns:a16="http://schemas.microsoft.com/office/drawing/2014/main" id="{812C6017-DA80-354A-BB3C-7F5C1E5383FC}"/>
              </a:ext>
            </a:extLst>
          </p:cNvPr>
          <p:cNvSpPr>
            <a:spLocks noGrp="1"/>
          </p:cNvSpPr>
          <p:nvPr>
            <p:ph type="body" sz="quarter" idx="12" hasCustomPrompt="1"/>
          </p:nvPr>
        </p:nvSpPr>
        <p:spPr>
          <a:xfrm>
            <a:off x="5128960" y="4121727"/>
            <a:ext cx="496359" cy="296863"/>
          </a:xfrm>
          <a:prstGeom prst="rect">
            <a:avLst/>
          </a:prstGeom>
        </p:spPr>
        <p:txBody>
          <a:bodyPr>
            <a:noAutofit/>
          </a:bodyPr>
          <a:lstStyle>
            <a:lvl1pPr marL="0" indent="0">
              <a:buNone/>
              <a:defRPr sz="1600">
                <a:solidFill>
                  <a:schemeClr val="bg1"/>
                </a:solidFill>
              </a:defRPr>
            </a:lvl1pPr>
          </a:lstStyle>
          <a:p>
            <a:pPr lvl="0"/>
            <a:r>
              <a:rPr lang="en-US" dirty="0"/>
              <a:t>STR</a:t>
            </a:r>
          </a:p>
        </p:txBody>
      </p:sp>
      <p:sp>
        <p:nvSpPr>
          <p:cNvPr id="8" name="Text Placeholder 7">
            <a:extLst>
              <a:ext uri="{FF2B5EF4-FFF2-40B4-BE49-F238E27FC236}">
                <a16:creationId xmlns:a16="http://schemas.microsoft.com/office/drawing/2014/main" id="{2A4733FE-0B1F-BF4E-BE2D-B193CF0D33BF}"/>
              </a:ext>
            </a:extLst>
          </p:cNvPr>
          <p:cNvSpPr>
            <a:spLocks noGrp="1"/>
          </p:cNvSpPr>
          <p:nvPr>
            <p:ph type="body" sz="quarter" idx="13" hasCustomPrompt="1"/>
          </p:nvPr>
        </p:nvSpPr>
        <p:spPr>
          <a:xfrm>
            <a:off x="908050" y="1069464"/>
            <a:ext cx="6611638" cy="604301"/>
          </a:xfrm>
          <a:prstGeom prst="rect">
            <a:avLst/>
          </a:prstGeom>
        </p:spPr>
        <p:txBody>
          <a:bodyPr>
            <a:noAutofit/>
          </a:bodyPr>
          <a:lstStyle>
            <a:lvl1pPr marL="0" indent="0">
              <a:buNone/>
              <a:defRPr sz="4800" b="1">
                <a:solidFill>
                  <a:schemeClr val="bg1"/>
                </a:solidFill>
              </a:defRPr>
            </a:lvl1pPr>
          </a:lstStyle>
          <a:p>
            <a:r>
              <a:rPr lang="en-US" dirty="0"/>
              <a:t>Thank You!</a:t>
            </a:r>
          </a:p>
        </p:txBody>
      </p:sp>
      <p:pic>
        <p:nvPicPr>
          <p:cNvPr id="40" name="Picture 39">
            <a:extLst>
              <a:ext uri="{FF2B5EF4-FFF2-40B4-BE49-F238E27FC236}">
                <a16:creationId xmlns:a16="http://schemas.microsoft.com/office/drawing/2014/main" id="{8582096C-A297-D944-BCF6-93C375993CBD}"/>
              </a:ext>
            </a:extLst>
          </p:cNvPr>
          <p:cNvPicPr>
            <a:picLocks noChangeAspect="1"/>
          </p:cNvPicPr>
          <p:nvPr userDrawn="1"/>
        </p:nvPicPr>
        <p:blipFill>
          <a:blip r:embed="rId6"/>
          <a:stretch>
            <a:fillRect/>
          </a:stretch>
        </p:blipFill>
        <p:spPr>
          <a:xfrm>
            <a:off x="10608145" y="299377"/>
            <a:ext cx="1260127" cy="1554313"/>
          </a:xfrm>
          <a:prstGeom prst="rect">
            <a:avLst/>
          </a:prstGeom>
        </p:spPr>
      </p:pic>
    </p:spTree>
    <p:extLst>
      <p:ext uri="{BB962C8B-B14F-4D97-AF65-F5344CB8AC3E}">
        <p14:creationId xmlns:p14="http://schemas.microsoft.com/office/powerpoint/2010/main" val="2640553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Title_only">
    <p:bg>
      <p:bgPr>
        <a:solidFill>
          <a:schemeClr val="bg1"/>
        </a:soli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576001" y="432003"/>
            <a:ext cx="9783851" cy="345972"/>
          </a:xfrm>
          <a:prstGeom prst="rect">
            <a:avLst/>
          </a:prstGeom>
        </p:spPr>
        <p:txBody>
          <a:bodyPr>
            <a:noAutofit/>
          </a:bodyPr>
          <a:lstStyle>
            <a:lvl1pPr algn="l">
              <a:lnSpc>
                <a:spcPts val="2667"/>
              </a:lnSpc>
              <a:defRPr sz="3733" b="1">
                <a:solidFill>
                  <a:schemeClr val="tx1"/>
                </a:solidFill>
                <a:latin typeface="+mn-lt"/>
                <a:cs typeface="Arial" pitchFamily="34" charset="0"/>
              </a:defRPr>
            </a:lvl1pPr>
          </a:lstStyle>
          <a:p>
            <a:r>
              <a:rPr lang="en-US" dirty="0"/>
              <a:t>Title</a:t>
            </a:r>
            <a:endParaRPr lang="en-GB" dirty="0"/>
          </a:p>
        </p:txBody>
      </p:sp>
      <p:sp>
        <p:nvSpPr>
          <p:cNvPr id="9" name="Text Placeholder 7"/>
          <p:cNvSpPr>
            <a:spLocks noGrp="1"/>
          </p:cNvSpPr>
          <p:nvPr>
            <p:ph type="body" sz="quarter" idx="13" hasCustomPrompt="1"/>
          </p:nvPr>
        </p:nvSpPr>
        <p:spPr>
          <a:xfrm>
            <a:off x="576001" y="781883"/>
            <a:ext cx="9783851" cy="303340"/>
          </a:xfrm>
          <a:prstGeom prst="rect">
            <a:avLst/>
          </a:prstGeom>
        </p:spPr>
        <p:txBody>
          <a:bodyPr>
            <a:noAutofit/>
          </a:bodyPr>
          <a:lstStyle>
            <a:lvl1pPr marL="0" indent="0" algn="l">
              <a:lnSpc>
                <a:spcPts val="2667"/>
              </a:lnSpc>
              <a:buNone/>
              <a:defRPr sz="2667">
                <a:solidFill>
                  <a:schemeClr val="tx1"/>
                </a:solidFill>
                <a:latin typeface="+mn-lt"/>
                <a:cs typeface="Arial" pitchFamily="34" charset="0"/>
              </a:defRPr>
            </a:lvl1pPr>
          </a:lstStyle>
          <a:p>
            <a:pPr lvl="0"/>
            <a:r>
              <a:rPr lang="en-GB" dirty="0"/>
              <a:t>Strapline</a:t>
            </a:r>
          </a:p>
        </p:txBody>
      </p:sp>
      <p:sp>
        <p:nvSpPr>
          <p:cNvPr id="13" name="TextBox 12">
            <a:extLst>
              <a:ext uri="{FF2B5EF4-FFF2-40B4-BE49-F238E27FC236}">
                <a16:creationId xmlns:a16="http://schemas.microsoft.com/office/drawing/2014/main" id="{A9F24F1F-606A-1E4F-9BC2-0948035B8EEA}"/>
              </a:ext>
            </a:extLst>
          </p:cNvPr>
          <p:cNvSpPr txBox="1"/>
          <p:nvPr userDrawn="1"/>
        </p:nvSpPr>
        <p:spPr>
          <a:xfrm>
            <a:off x="482712" y="6389493"/>
            <a:ext cx="11069208" cy="230832"/>
          </a:xfrm>
          <a:prstGeom prst="rect">
            <a:avLst/>
          </a:prstGeom>
          <a:noFill/>
        </p:spPr>
        <p:txBody>
          <a:bodyPr wrap="square" rtlCol="0">
            <a:spAutoFit/>
          </a:bodyPr>
          <a:lstStyle/>
          <a:p>
            <a:pPr algn="r"/>
            <a:r>
              <a:rPr lang="en-US" sz="900" dirty="0">
                <a:solidFill>
                  <a:srgbClr val="FFFFFF">
                    <a:lumMod val="50000"/>
                  </a:srgbClr>
                </a:solidFill>
              </a:rPr>
              <a:t>﻿</a:t>
            </a:r>
            <a:r>
              <a:rPr lang="en-US" sz="900" dirty="0">
                <a:solidFill>
                  <a:srgbClr val="3F3F3F">
                    <a:lumMod val="60000"/>
                    <a:lumOff val="40000"/>
                  </a:srgbClr>
                </a:solidFill>
              </a:rPr>
              <a:t>Source</a:t>
            </a:r>
            <a:r>
              <a:rPr lang="en-US" sz="900" dirty="0">
                <a:solidFill>
                  <a:srgbClr val="FFFFFF">
                    <a:lumMod val="50000"/>
                  </a:srgbClr>
                </a:solidFill>
              </a:rPr>
              <a:t>: STR. 2020 © CoStar Realty Information, Inc.</a:t>
            </a:r>
          </a:p>
        </p:txBody>
      </p:sp>
      <p:pic>
        <p:nvPicPr>
          <p:cNvPr id="15" name="Picture 14">
            <a:extLst>
              <a:ext uri="{FF2B5EF4-FFF2-40B4-BE49-F238E27FC236}">
                <a16:creationId xmlns:a16="http://schemas.microsoft.com/office/drawing/2014/main" id="{25153B3D-D44C-6640-A1E5-4C2E7B65F2B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11079" y="299378"/>
            <a:ext cx="973700" cy="973700"/>
          </a:xfrm>
          <a:prstGeom prst="rect">
            <a:avLst/>
          </a:prstGeom>
        </p:spPr>
      </p:pic>
    </p:spTree>
    <p:extLst>
      <p:ext uri="{BB962C8B-B14F-4D97-AF65-F5344CB8AC3E}">
        <p14:creationId xmlns:p14="http://schemas.microsoft.com/office/powerpoint/2010/main" val="2358899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435600" y="1646814"/>
            <a:ext cx="6116320" cy="4569344"/>
          </a:xfrm>
        </p:spPr>
        <p:txBody>
          <a:bodyPr>
            <a:normAutofit/>
          </a:bodyPr>
          <a:lstStyle>
            <a:lvl1pPr marL="0" indent="0">
              <a:buNone/>
              <a:defRPr sz="16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1"/>
          <p:cNvSpPr>
            <a:spLocks noGrp="1"/>
          </p:cNvSpPr>
          <p:nvPr>
            <p:ph type="title" hasCustomPrompt="1"/>
          </p:nvPr>
        </p:nvSpPr>
        <p:spPr>
          <a:xfrm>
            <a:off x="576001" y="432002"/>
            <a:ext cx="9783850" cy="345972"/>
          </a:xfrm>
          <a:prstGeom prst="rect">
            <a:avLst/>
          </a:prstGeom>
        </p:spPr>
        <p:txBody>
          <a:bodyPr>
            <a:noAutofit/>
          </a:bodyPr>
          <a:lstStyle>
            <a:lvl1pPr algn="l">
              <a:lnSpc>
                <a:spcPts val="2667"/>
              </a:lnSpc>
              <a:defRPr sz="2800" b="1">
                <a:solidFill>
                  <a:schemeClr val="tx1">
                    <a:lumMod val="50000"/>
                  </a:schemeClr>
                </a:solidFill>
                <a:latin typeface="+mn-lt"/>
                <a:cs typeface="Arial" pitchFamily="34" charset="0"/>
              </a:defRPr>
            </a:lvl1pPr>
          </a:lstStyle>
          <a:p>
            <a:r>
              <a:rPr lang="en-US" dirty="0"/>
              <a:t>Title</a:t>
            </a:r>
            <a:endParaRPr lang="en-GB" dirty="0"/>
          </a:p>
        </p:txBody>
      </p:sp>
      <p:sp>
        <p:nvSpPr>
          <p:cNvPr id="7" name="Text Placeholder 7"/>
          <p:cNvSpPr>
            <a:spLocks noGrp="1"/>
          </p:cNvSpPr>
          <p:nvPr>
            <p:ph type="body" sz="quarter" idx="13" hasCustomPrompt="1"/>
          </p:nvPr>
        </p:nvSpPr>
        <p:spPr>
          <a:xfrm>
            <a:off x="576000" y="781882"/>
            <a:ext cx="9783851" cy="303340"/>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8" name="Text Placeholder 7"/>
          <p:cNvSpPr>
            <a:spLocks noGrp="1"/>
          </p:cNvSpPr>
          <p:nvPr>
            <p:ph type="body" sz="quarter" idx="14" hasCustomPrompt="1"/>
          </p:nvPr>
        </p:nvSpPr>
        <p:spPr>
          <a:xfrm>
            <a:off x="576000" y="1094920"/>
            <a:ext cx="9783851" cy="331946"/>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10" name="Picture Placeholder 2">
            <a:extLst>
              <a:ext uri="{FF2B5EF4-FFF2-40B4-BE49-F238E27FC236}">
                <a16:creationId xmlns:a16="http://schemas.microsoft.com/office/drawing/2014/main" id="{B862C0C1-4BDB-4349-BFEA-32719B7B0F53}"/>
              </a:ext>
            </a:extLst>
          </p:cNvPr>
          <p:cNvSpPr>
            <a:spLocks noGrp="1"/>
          </p:cNvSpPr>
          <p:nvPr>
            <p:ph type="pic" sz="quarter" idx="26"/>
          </p:nvPr>
        </p:nvSpPr>
        <p:spPr>
          <a:xfrm>
            <a:off x="576000" y="1646814"/>
            <a:ext cx="4491300" cy="4569343"/>
          </a:xfrm>
          <a:solidFill>
            <a:schemeClr val="bg1">
              <a:lumMod val="90000"/>
            </a:schemeClr>
          </a:solidFill>
          <a:ln>
            <a:noFill/>
          </a:ln>
        </p:spPr>
        <p:txBody>
          <a:bodyPr anchor="t">
            <a:normAutofit/>
          </a:bodyPr>
          <a:lstStyle>
            <a:lvl1pPr marL="0" indent="0" algn="ctr">
              <a:buNone/>
              <a:defRPr sz="1100" b="0" i="0">
                <a:latin typeface="Source Sans Pro Light" panose="020B0403030403020204" pitchFamily="34" charset="0"/>
                <a:ea typeface="Noto Sans Light" panose="020B0402040504020204" pitchFamily="34" charset="0"/>
                <a:cs typeface="Noto Sans Light" panose="020B0402040504020204" pitchFamily="34" charset="0"/>
              </a:defRPr>
            </a:lvl1pPr>
          </a:lstStyle>
          <a:p>
            <a:r>
              <a:rPr lang="en-US" dirty="0"/>
              <a:t>Click icon to add picture</a:t>
            </a:r>
            <a:endParaRPr lang="id-ID" dirty="0"/>
          </a:p>
        </p:txBody>
      </p:sp>
      <p:sp>
        <p:nvSpPr>
          <p:cNvPr id="12" name="TextBox 11">
            <a:extLst>
              <a:ext uri="{FF2B5EF4-FFF2-40B4-BE49-F238E27FC236}">
                <a16:creationId xmlns:a16="http://schemas.microsoft.com/office/drawing/2014/main" id="{64F117CF-BE0A-2648-A05B-00B7FA16EA15}"/>
              </a:ext>
            </a:extLst>
          </p:cNvPr>
          <p:cNvSpPr txBox="1"/>
          <p:nvPr userDrawn="1"/>
        </p:nvSpPr>
        <p:spPr>
          <a:xfrm>
            <a:off x="482712" y="6389493"/>
            <a:ext cx="11069208" cy="230832"/>
          </a:xfrm>
          <a:prstGeom prst="rect">
            <a:avLst/>
          </a:prstGeom>
          <a:noFill/>
        </p:spPr>
        <p:txBody>
          <a:bodyPr wrap="square" rtlCol="0">
            <a:spAutoFit/>
          </a:bodyPr>
          <a:lstStyle/>
          <a:p>
            <a:pPr algn="r"/>
            <a:r>
              <a:rPr lang="en-US" sz="900" b="0" dirty="0">
                <a:solidFill>
                  <a:schemeClr val="tx1">
                    <a:lumMod val="60000"/>
                    <a:lumOff val="40000"/>
                  </a:schemeClr>
                </a:solidFill>
              </a:rPr>
              <a:t>﻿Source: STR. 2022 © CoStar Realty Information, Inc.</a:t>
            </a:r>
          </a:p>
        </p:txBody>
      </p:sp>
      <p:pic>
        <p:nvPicPr>
          <p:cNvPr id="17" name="Picture 16">
            <a:extLst>
              <a:ext uri="{FF2B5EF4-FFF2-40B4-BE49-F238E27FC236}">
                <a16:creationId xmlns:a16="http://schemas.microsoft.com/office/drawing/2014/main" id="{EF8A087C-B39C-554E-A4D3-29C716FAB52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11078" y="299377"/>
            <a:ext cx="973700" cy="973700"/>
          </a:xfrm>
          <a:prstGeom prst="rect">
            <a:avLst/>
          </a:prstGeom>
        </p:spPr>
      </p:pic>
    </p:spTree>
    <p:extLst>
      <p:ext uri="{BB962C8B-B14F-4D97-AF65-F5344CB8AC3E}">
        <p14:creationId xmlns:p14="http://schemas.microsoft.com/office/powerpoint/2010/main" val="3663650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79120" y="1600201"/>
            <a:ext cx="10972800" cy="4615957"/>
          </a:xfrm>
        </p:spPr>
        <p:txBody>
          <a:bodyPr>
            <a:normAutofit/>
          </a:bodyPr>
          <a:lstStyle>
            <a:lvl1pPr marL="0" indent="0">
              <a:buClr>
                <a:schemeClr val="tx1"/>
              </a:buClr>
              <a:buFont typeface="Arial" panose="020B0604020202020204" pitchFamily="34" charset="0"/>
              <a:buNone/>
              <a:defRPr sz="1400">
                <a:solidFill>
                  <a:schemeClr val="tx1"/>
                </a:solidFill>
              </a:defRPr>
            </a:lvl1pPr>
            <a:lvl2pPr>
              <a:defRPr sz="1600">
                <a:solidFill>
                  <a:schemeClr val="tx1"/>
                </a:solidFill>
              </a:defRPr>
            </a:lvl2pPr>
            <a:lvl3pPr>
              <a:buClr>
                <a:schemeClr val="tx1"/>
              </a:buClr>
              <a:defRPr sz="1600">
                <a:solidFill>
                  <a:schemeClr val="tx1"/>
                </a:solidFill>
              </a:defRPr>
            </a:lvl3pPr>
            <a:lvl4pPr>
              <a:buClr>
                <a:schemeClr val="tx1"/>
              </a:buClr>
              <a:defRPr sz="1400">
                <a:solidFill>
                  <a:schemeClr val="tx1"/>
                </a:solidFill>
              </a:defRPr>
            </a:lvl4pPr>
            <a:lvl5pPr>
              <a:buClr>
                <a:schemeClr val="tx1"/>
              </a:buClr>
              <a:defRPr sz="1600">
                <a:solidFill>
                  <a:schemeClr val="tx1"/>
                </a:solidFill>
              </a:defRPr>
            </a:lvl5pPr>
          </a:lstStyle>
          <a:p>
            <a:pPr lvl="0"/>
            <a:r>
              <a:rPr lang="en-US" dirty="0"/>
              <a:t>Click to edit Master text styles</a:t>
            </a:r>
          </a:p>
        </p:txBody>
      </p:sp>
      <p:sp>
        <p:nvSpPr>
          <p:cNvPr id="5" name="Title 1"/>
          <p:cNvSpPr>
            <a:spLocks noGrp="1"/>
          </p:cNvSpPr>
          <p:nvPr>
            <p:ph type="title" hasCustomPrompt="1"/>
          </p:nvPr>
        </p:nvSpPr>
        <p:spPr>
          <a:xfrm>
            <a:off x="576001" y="432002"/>
            <a:ext cx="9783850" cy="345972"/>
          </a:xfrm>
          <a:prstGeom prst="rect">
            <a:avLst/>
          </a:prstGeom>
        </p:spPr>
        <p:txBody>
          <a:bodyPr>
            <a:noAutofit/>
          </a:bodyPr>
          <a:lstStyle>
            <a:lvl1pPr algn="l">
              <a:lnSpc>
                <a:spcPts val="2667"/>
              </a:lnSpc>
              <a:defRPr sz="2800" b="1">
                <a:solidFill>
                  <a:schemeClr val="tx1"/>
                </a:solidFill>
                <a:latin typeface="+mn-lt"/>
                <a:cs typeface="Arial" pitchFamily="34" charset="0"/>
              </a:defRPr>
            </a:lvl1pPr>
          </a:lstStyle>
          <a:p>
            <a:r>
              <a:rPr lang="en-US" dirty="0"/>
              <a:t>Title</a:t>
            </a:r>
            <a:endParaRPr lang="en-GB" dirty="0"/>
          </a:p>
        </p:txBody>
      </p:sp>
      <p:sp>
        <p:nvSpPr>
          <p:cNvPr id="7" name="Text Placeholder 7"/>
          <p:cNvSpPr>
            <a:spLocks noGrp="1"/>
          </p:cNvSpPr>
          <p:nvPr>
            <p:ph type="body" sz="quarter" idx="13" hasCustomPrompt="1"/>
          </p:nvPr>
        </p:nvSpPr>
        <p:spPr>
          <a:xfrm>
            <a:off x="576000" y="781882"/>
            <a:ext cx="9783851" cy="303340"/>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8" name="Text Placeholder 7"/>
          <p:cNvSpPr>
            <a:spLocks noGrp="1"/>
          </p:cNvSpPr>
          <p:nvPr>
            <p:ph type="body" sz="quarter" idx="14" hasCustomPrompt="1"/>
          </p:nvPr>
        </p:nvSpPr>
        <p:spPr>
          <a:xfrm>
            <a:off x="576000" y="1094920"/>
            <a:ext cx="9783851" cy="331946"/>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10" name="TextBox 9">
            <a:extLst>
              <a:ext uri="{FF2B5EF4-FFF2-40B4-BE49-F238E27FC236}">
                <a16:creationId xmlns:a16="http://schemas.microsoft.com/office/drawing/2014/main" id="{386979A0-BF26-1548-81F1-1C74D95539E9}"/>
              </a:ext>
            </a:extLst>
          </p:cNvPr>
          <p:cNvSpPr txBox="1"/>
          <p:nvPr userDrawn="1"/>
        </p:nvSpPr>
        <p:spPr>
          <a:xfrm>
            <a:off x="482712" y="6389493"/>
            <a:ext cx="11069208" cy="230832"/>
          </a:xfrm>
          <a:prstGeom prst="rect">
            <a:avLst/>
          </a:prstGeom>
          <a:noFill/>
        </p:spPr>
        <p:txBody>
          <a:bodyPr wrap="square" rtlCol="0">
            <a:spAutoFit/>
          </a:bodyPr>
          <a:lstStyle/>
          <a:p>
            <a:pPr algn="r"/>
            <a:r>
              <a:rPr lang="en-US" sz="900" b="0" dirty="0">
                <a:solidFill>
                  <a:schemeClr val="bg1">
                    <a:lumMod val="50000"/>
                  </a:schemeClr>
                </a:solidFill>
              </a:rPr>
              <a:t>﻿</a:t>
            </a:r>
            <a:r>
              <a:rPr lang="en-US" sz="900" b="0" dirty="0">
                <a:solidFill>
                  <a:schemeClr val="tx1">
                    <a:lumMod val="60000"/>
                    <a:lumOff val="40000"/>
                  </a:schemeClr>
                </a:solidFill>
              </a:rPr>
              <a:t>Source</a:t>
            </a:r>
            <a:r>
              <a:rPr lang="en-US" sz="900" b="0" dirty="0">
                <a:solidFill>
                  <a:schemeClr val="bg1">
                    <a:lumMod val="50000"/>
                  </a:schemeClr>
                </a:solidFill>
              </a:rPr>
              <a:t>: STR. 2022 © CoStar Realty Information, Inc.</a:t>
            </a:r>
          </a:p>
        </p:txBody>
      </p:sp>
      <p:pic>
        <p:nvPicPr>
          <p:cNvPr id="15" name="Picture 14">
            <a:extLst>
              <a:ext uri="{FF2B5EF4-FFF2-40B4-BE49-F238E27FC236}">
                <a16:creationId xmlns:a16="http://schemas.microsoft.com/office/drawing/2014/main" id="{90A5E345-3A7E-714D-8C0F-5B9A34833E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11078" y="299377"/>
            <a:ext cx="973700" cy="973700"/>
          </a:xfrm>
          <a:prstGeom prst="rect">
            <a:avLst/>
          </a:prstGeom>
        </p:spPr>
      </p:pic>
    </p:spTree>
    <p:extLst>
      <p:ext uri="{BB962C8B-B14F-4D97-AF65-F5344CB8AC3E}">
        <p14:creationId xmlns:p14="http://schemas.microsoft.com/office/powerpoint/2010/main" val="192641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586936" y="1548033"/>
            <a:ext cx="10972800" cy="4668125"/>
          </a:xfrm>
          <a:prstGeom prst="rect">
            <a:avLst/>
          </a:prstGeom>
        </p:spPr>
        <p:txBody>
          <a:bodyPr>
            <a:normAutofit/>
          </a:bodyPr>
          <a:lstStyle>
            <a:lvl1pPr marL="0" indent="0">
              <a:buNone/>
              <a:defRPr sz="1400">
                <a:solidFill>
                  <a:schemeClr val="tx1"/>
                </a:solidFill>
              </a:defRPr>
            </a:lvl1pPr>
          </a:lstStyle>
          <a:p>
            <a:pPr lvl="0"/>
            <a:r>
              <a:rPr lang="en-US" noProof="0" dirty="0"/>
              <a:t>Click icon to add chart</a:t>
            </a:r>
          </a:p>
        </p:txBody>
      </p:sp>
      <p:sp>
        <p:nvSpPr>
          <p:cNvPr id="9" name="Title 1"/>
          <p:cNvSpPr>
            <a:spLocks noGrp="1"/>
          </p:cNvSpPr>
          <p:nvPr>
            <p:ph type="title" hasCustomPrompt="1"/>
          </p:nvPr>
        </p:nvSpPr>
        <p:spPr>
          <a:xfrm>
            <a:off x="576001" y="432002"/>
            <a:ext cx="9783850" cy="345972"/>
          </a:xfrm>
          <a:prstGeom prst="rect">
            <a:avLst/>
          </a:prstGeom>
        </p:spPr>
        <p:txBody>
          <a:bodyPr>
            <a:noAutofit/>
          </a:bodyPr>
          <a:lstStyle>
            <a:lvl1pPr algn="l">
              <a:lnSpc>
                <a:spcPts val="2667"/>
              </a:lnSpc>
              <a:defRPr sz="2800" b="1">
                <a:solidFill>
                  <a:schemeClr val="tx1"/>
                </a:solidFill>
                <a:latin typeface="+mn-lt"/>
                <a:cs typeface="Arial" pitchFamily="34" charset="0"/>
              </a:defRPr>
            </a:lvl1pPr>
          </a:lstStyle>
          <a:p>
            <a:r>
              <a:rPr lang="en-US" dirty="0"/>
              <a:t>Title</a:t>
            </a:r>
            <a:endParaRPr lang="en-GB" dirty="0"/>
          </a:p>
        </p:txBody>
      </p:sp>
      <p:sp>
        <p:nvSpPr>
          <p:cNvPr id="10" name="Text Placeholder 7"/>
          <p:cNvSpPr>
            <a:spLocks noGrp="1"/>
          </p:cNvSpPr>
          <p:nvPr>
            <p:ph type="body" sz="quarter" idx="13" hasCustomPrompt="1"/>
          </p:nvPr>
        </p:nvSpPr>
        <p:spPr>
          <a:xfrm>
            <a:off x="576000" y="781882"/>
            <a:ext cx="9783851" cy="303340"/>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15" name="TextBox 14">
            <a:extLst>
              <a:ext uri="{FF2B5EF4-FFF2-40B4-BE49-F238E27FC236}">
                <a16:creationId xmlns:a16="http://schemas.microsoft.com/office/drawing/2014/main" id="{8D1CD48B-3AEB-BE41-A129-ABCFA5E8C911}"/>
              </a:ext>
            </a:extLst>
          </p:cNvPr>
          <p:cNvSpPr txBox="1"/>
          <p:nvPr userDrawn="1"/>
        </p:nvSpPr>
        <p:spPr>
          <a:xfrm>
            <a:off x="482712" y="6389493"/>
            <a:ext cx="11069208" cy="230832"/>
          </a:xfrm>
          <a:prstGeom prst="rect">
            <a:avLst/>
          </a:prstGeom>
          <a:noFill/>
        </p:spPr>
        <p:txBody>
          <a:bodyPr wrap="square" rtlCol="0">
            <a:spAutoFit/>
          </a:bodyPr>
          <a:lstStyle/>
          <a:p>
            <a:pPr algn="r"/>
            <a:r>
              <a:rPr lang="en-US" sz="900" b="0" dirty="0">
                <a:solidFill>
                  <a:schemeClr val="bg1">
                    <a:lumMod val="50000"/>
                  </a:schemeClr>
                </a:solidFill>
              </a:rPr>
              <a:t>﻿</a:t>
            </a:r>
            <a:r>
              <a:rPr lang="en-US" sz="900" b="0" dirty="0">
                <a:solidFill>
                  <a:schemeClr val="tx1">
                    <a:lumMod val="60000"/>
                    <a:lumOff val="40000"/>
                  </a:schemeClr>
                </a:solidFill>
              </a:rPr>
              <a:t>Source</a:t>
            </a:r>
            <a:r>
              <a:rPr lang="en-US" sz="900" b="0" dirty="0">
                <a:solidFill>
                  <a:schemeClr val="bg1">
                    <a:lumMod val="50000"/>
                  </a:schemeClr>
                </a:solidFill>
              </a:rPr>
              <a:t>: STR. 2022 © CoStar Realty Information, Inc.</a:t>
            </a:r>
          </a:p>
        </p:txBody>
      </p:sp>
      <p:pic>
        <p:nvPicPr>
          <p:cNvPr id="20" name="Picture 19">
            <a:extLst>
              <a:ext uri="{FF2B5EF4-FFF2-40B4-BE49-F238E27FC236}">
                <a16:creationId xmlns:a16="http://schemas.microsoft.com/office/drawing/2014/main" id="{69B5EC53-52FC-FA4B-A1BB-A8D5B47EE7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11078" y="299377"/>
            <a:ext cx="973700" cy="973700"/>
          </a:xfrm>
          <a:prstGeom prst="rect">
            <a:avLst/>
          </a:prstGeom>
        </p:spPr>
      </p:pic>
    </p:spTree>
    <p:extLst>
      <p:ext uri="{BB962C8B-B14F-4D97-AF65-F5344CB8AC3E}">
        <p14:creationId xmlns:p14="http://schemas.microsoft.com/office/powerpoint/2010/main" val="677518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576001" y="432002"/>
            <a:ext cx="9783850" cy="345972"/>
          </a:xfrm>
          <a:prstGeom prst="rect">
            <a:avLst/>
          </a:prstGeom>
        </p:spPr>
        <p:txBody>
          <a:bodyPr>
            <a:noAutofit/>
          </a:bodyPr>
          <a:lstStyle>
            <a:lvl1pPr algn="l">
              <a:lnSpc>
                <a:spcPts val="2667"/>
              </a:lnSpc>
              <a:defRPr sz="2800" b="1">
                <a:solidFill>
                  <a:schemeClr val="tx1"/>
                </a:solidFill>
                <a:latin typeface="+mn-lt"/>
                <a:cs typeface="Arial" pitchFamily="34" charset="0"/>
              </a:defRPr>
            </a:lvl1pPr>
          </a:lstStyle>
          <a:p>
            <a:r>
              <a:rPr lang="en-US" dirty="0"/>
              <a:t>Title</a:t>
            </a:r>
            <a:endParaRPr lang="en-GB" dirty="0"/>
          </a:p>
        </p:txBody>
      </p:sp>
      <p:sp>
        <p:nvSpPr>
          <p:cNvPr id="9" name="Text Placeholder 7"/>
          <p:cNvSpPr>
            <a:spLocks noGrp="1"/>
          </p:cNvSpPr>
          <p:nvPr>
            <p:ph type="body" sz="quarter" idx="13" hasCustomPrompt="1"/>
          </p:nvPr>
        </p:nvSpPr>
        <p:spPr>
          <a:xfrm>
            <a:off x="576000" y="781882"/>
            <a:ext cx="9783851" cy="303340"/>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10" name="Text Placeholder 7"/>
          <p:cNvSpPr>
            <a:spLocks noGrp="1"/>
          </p:cNvSpPr>
          <p:nvPr>
            <p:ph type="body" sz="quarter" idx="14" hasCustomPrompt="1"/>
          </p:nvPr>
        </p:nvSpPr>
        <p:spPr>
          <a:xfrm>
            <a:off x="576000" y="1094920"/>
            <a:ext cx="9783851" cy="331946"/>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13" name="TextBox 12">
            <a:extLst>
              <a:ext uri="{FF2B5EF4-FFF2-40B4-BE49-F238E27FC236}">
                <a16:creationId xmlns:a16="http://schemas.microsoft.com/office/drawing/2014/main" id="{A9F24F1F-606A-1E4F-9BC2-0948035B8EEA}"/>
              </a:ext>
            </a:extLst>
          </p:cNvPr>
          <p:cNvSpPr txBox="1"/>
          <p:nvPr userDrawn="1"/>
        </p:nvSpPr>
        <p:spPr>
          <a:xfrm>
            <a:off x="482712" y="6389493"/>
            <a:ext cx="11069208" cy="230832"/>
          </a:xfrm>
          <a:prstGeom prst="rect">
            <a:avLst/>
          </a:prstGeom>
          <a:noFill/>
        </p:spPr>
        <p:txBody>
          <a:bodyPr wrap="square" rtlCol="0">
            <a:spAutoFit/>
          </a:bodyPr>
          <a:lstStyle/>
          <a:p>
            <a:pPr algn="r"/>
            <a:r>
              <a:rPr lang="en-US" sz="900" b="0" dirty="0">
                <a:solidFill>
                  <a:schemeClr val="bg1">
                    <a:lumMod val="50000"/>
                  </a:schemeClr>
                </a:solidFill>
              </a:rPr>
              <a:t>﻿</a:t>
            </a:r>
            <a:r>
              <a:rPr lang="en-US" sz="900" b="0" dirty="0">
                <a:solidFill>
                  <a:schemeClr val="tx1">
                    <a:lumMod val="60000"/>
                    <a:lumOff val="40000"/>
                  </a:schemeClr>
                </a:solidFill>
              </a:rPr>
              <a:t>Source</a:t>
            </a:r>
            <a:r>
              <a:rPr lang="en-US" sz="900" b="0" dirty="0">
                <a:solidFill>
                  <a:schemeClr val="bg1">
                    <a:lumMod val="50000"/>
                  </a:schemeClr>
                </a:solidFill>
              </a:rPr>
              <a:t>: STR. 2022 © CoStar Realty Information, Inc.</a:t>
            </a:r>
          </a:p>
        </p:txBody>
      </p:sp>
      <p:pic>
        <p:nvPicPr>
          <p:cNvPr id="15" name="Picture 14">
            <a:extLst>
              <a:ext uri="{FF2B5EF4-FFF2-40B4-BE49-F238E27FC236}">
                <a16:creationId xmlns:a16="http://schemas.microsoft.com/office/drawing/2014/main" id="{25153B3D-D44C-6640-A1E5-4C2E7B65F2B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11078" y="299377"/>
            <a:ext cx="973700" cy="973700"/>
          </a:xfrm>
          <a:prstGeom prst="rect">
            <a:avLst/>
          </a:prstGeom>
        </p:spPr>
      </p:pic>
    </p:spTree>
    <p:extLst>
      <p:ext uri="{BB962C8B-B14F-4D97-AF65-F5344CB8AC3E}">
        <p14:creationId xmlns:p14="http://schemas.microsoft.com/office/powerpoint/2010/main" val="3622193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_only">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576001" y="432002"/>
            <a:ext cx="9783850" cy="345972"/>
          </a:xfrm>
          <a:prstGeom prst="rect">
            <a:avLst/>
          </a:prstGeom>
        </p:spPr>
        <p:txBody>
          <a:bodyPr>
            <a:noAutofit/>
          </a:bodyPr>
          <a:lstStyle>
            <a:lvl1pPr algn="l">
              <a:lnSpc>
                <a:spcPts val="2667"/>
              </a:lnSpc>
              <a:defRPr sz="2800" b="1">
                <a:solidFill>
                  <a:schemeClr val="tx1"/>
                </a:solidFill>
                <a:latin typeface="+mn-lt"/>
                <a:cs typeface="Arial" pitchFamily="34" charset="0"/>
              </a:defRPr>
            </a:lvl1pPr>
          </a:lstStyle>
          <a:p>
            <a:r>
              <a:rPr lang="en-US" dirty="0"/>
              <a:t>Title</a:t>
            </a:r>
            <a:endParaRPr lang="en-GB" dirty="0"/>
          </a:p>
        </p:txBody>
      </p:sp>
      <p:sp>
        <p:nvSpPr>
          <p:cNvPr id="9" name="Text Placeholder 7"/>
          <p:cNvSpPr>
            <a:spLocks noGrp="1"/>
          </p:cNvSpPr>
          <p:nvPr>
            <p:ph type="body" sz="quarter" idx="13" hasCustomPrompt="1"/>
          </p:nvPr>
        </p:nvSpPr>
        <p:spPr>
          <a:xfrm>
            <a:off x="576000" y="781882"/>
            <a:ext cx="9783851" cy="303340"/>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10" name="Text Placeholder 7"/>
          <p:cNvSpPr>
            <a:spLocks noGrp="1"/>
          </p:cNvSpPr>
          <p:nvPr>
            <p:ph type="body" sz="quarter" idx="14" hasCustomPrompt="1"/>
          </p:nvPr>
        </p:nvSpPr>
        <p:spPr>
          <a:xfrm>
            <a:off x="576000" y="1094920"/>
            <a:ext cx="9783851" cy="331946"/>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6" name="Picture Placeholder 7">
            <a:extLst>
              <a:ext uri="{FF2B5EF4-FFF2-40B4-BE49-F238E27FC236}">
                <a16:creationId xmlns:a16="http://schemas.microsoft.com/office/drawing/2014/main" id="{98185818-FDBA-EE4A-A3D4-9A51E82061B0}"/>
              </a:ext>
            </a:extLst>
          </p:cNvPr>
          <p:cNvSpPr>
            <a:spLocks noGrp="1"/>
          </p:cNvSpPr>
          <p:nvPr>
            <p:ph type="pic" sz="quarter" idx="66"/>
          </p:nvPr>
        </p:nvSpPr>
        <p:spPr>
          <a:xfrm>
            <a:off x="4861456" y="2035098"/>
            <a:ext cx="2498523" cy="2497873"/>
          </a:xfrm>
          <a:prstGeom prst="ellipse">
            <a:avLst/>
          </a:prstGeom>
          <a:solidFill>
            <a:schemeClr val="bg1">
              <a:lumMod val="95000"/>
            </a:schemeClr>
          </a:solidFill>
          <a:effectLst/>
        </p:spPr>
        <p:txBody>
          <a:bodyPr wrap="square">
            <a:noAutofit/>
          </a:bodyPr>
          <a:lstStyle>
            <a:lvl1pPr marL="0" indent="0">
              <a:buNone/>
              <a:defRPr sz="1301" b="1" i="0">
                <a:ln>
                  <a:noFill/>
                </a:ln>
                <a:solidFill>
                  <a:schemeClr val="bg1">
                    <a:lumMod val="85000"/>
                  </a:schemeClr>
                </a:solidFill>
                <a:latin typeface="Open Sans Semibold" charset="0"/>
                <a:ea typeface="Open Sans Semibold" charset="0"/>
                <a:cs typeface="Open Sans Semibold" charset="0"/>
              </a:defRPr>
            </a:lvl1pPr>
          </a:lstStyle>
          <a:p>
            <a:r>
              <a:rPr lang="en-US" dirty="0"/>
              <a:t>Click icon to add picture</a:t>
            </a:r>
          </a:p>
        </p:txBody>
      </p:sp>
      <p:sp>
        <p:nvSpPr>
          <p:cNvPr id="7" name="Picture Placeholder 7">
            <a:extLst>
              <a:ext uri="{FF2B5EF4-FFF2-40B4-BE49-F238E27FC236}">
                <a16:creationId xmlns:a16="http://schemas.microsoft.com/office/drawing/2014/main" id="{84639073-5F72-9043-9030-121104229E04}"/>
              </a:ext>
            </a:extLst>
          </p:cNvPr>
          <p:cNvSpPr>
            <a:spLocks noGrp="1"/>
          </p:cNvSpPr>
          <p:nvPr>
            <p:ph type="pic" sz="quarter" idx="67"/>
          </p:nvPr>
        </p:nvSpPr>
        <p:spPr>
          <a:xfrm>
            <a:off x="7994021" y="2035098"/>
            <a:ext cx="2498523" cy="2497873"/>
          </a:xfrm>
          <a:prstGeom prst="ellipse">
            <a:avLst/>
          </a:prstGeom>
          <a:solidFill>
            <a:schemeClr val="bg1">
              <a:lumMod val="95000"/>
            </a:schemeClr>
          </a:solidFill>
          <a:effectLst/>
        </p:spPr>
        <p:txBody>
          <a:bodyPr wrap="square">
            <a:noAutofit/>
          </a:bodyPr>
          <a:lstStyle>
            <a:lvl1pPr marL="0" indent="0">
              <a:buNone/>
              <a:defRPr sz="1301" b="1" i="0">
                <a:ln>
                  <a:noFill/>
                </a:ln>
                <a:solidFill>
                  <a:schemeClr val="bg1">
                    <a:lumMod val="85000"/>
                  </a:schemeClr>
                </a:solidFill>
                <a:latin typeface="Open Sans Semibold" charset="0"/>
                <a:ea typeface="Open Sans Semibold" charset="0"/>
                <a:cs typeface="Open Sans Semibold" charset="0"/>
              </a:defRPr>
            </a:lvl1pPr>
          </a:lstStyle>
          <a:p>
            <a:r>
              <a:rPr lang="en-US" dirty="0"/>
              <a:t>Click icon to add picture</a:t>
            </a:r>
          </a:p>
        </p:txBody>
      </p:sp>
      <p:sp>
        <p:nvSpPr>
          <p:cNvPr id="11" name="Picture Placeholder 7">
            <a:extLst>
              <a:ext uri="{FF2B5EF4-FFF2-40B4-BE49-F238E27FC236}">
                <a16:creationId xmlns:a16="http://schemas.microsoft.com/office/drawing/2014/main" id="{247E79D3-3DA2-D24A-A405-10CED78996AA}"/>
              </a:ext>
            </a:extLst>
          </p:cNvPr>
          <p:cNvSpPr>
            <a:spLocks noGrp="1"/>
          </p:cNvSpPr>
          <p:nvPr>
            <p:ph type="pic" sz="quarter" idx="68"/>
          </p:nvPr>
        </p:nvSpPr>
        <p:spPr>
          <a:xfrm>
            <a:off x="1728890" y="2035098"/>
            <a:ext cx="2498523" cy="2497873"/>
          </a:xfrm>
          <a:prstGeom prst="ellipse">
            <a:avLst/>
          </a:prstGeom>
          <a:solidFill>
            <a:schemeClr val="bg1">
              <a:lumMod val="95000"/>
            </a:schemeClr>
          </a:solidFill>
          <a:effectLst/>
        </p:spPr>
        <p:txBody>
          <a:bodyPr wrap="square">
            <a:noAutofit/>
          </a:bodyPr>
          <a:lstStyle>
            <a:lvl1pPr marL="0" indent="0">
              <a:buNone/>
              <a:defRPr sz="1301" b="1" i="0">
                <a:ln>
                  <a:noFill/>
                </a:ln>
                <a:solidFill>
                  <a:schemeClr val="bg1">
                    <a:lumMod val="85000"/>
                  </a:schemeClr>
                </a:solidFill>
                <a:latin typeface="Open Sans Semibold" charset="0"/>
                <a:ea typeface="Open Sans Semibold" charset="0"/>
                <a:cs typeface="Open Sans Semibold" charset="0"/>
              </a:defRPr>
            </a:lvl1pPr>
          </a:lstStyle>
          <a:p>
            <a:r>
              <a:rPr lang="en-US" dirty="0"/>
              <a:t>Click icon to add picture</a:t>
            </a:r>
          </a:p>
        </p:txBody>
      </p:sp>
      <p:sp>
        <p:nvSpPr>
          <p:cNvPr id="14" name="TextBox 13">
            <a:extLst>
              <a:ext uri="{FF2B5EF4-FFF2-40B4-BE49-F238E27FC236}">
                <a16:creationId xmlns:a16="http://schemas.microsoft.com/office/drawing/2014/main" id="{77441868-353C-CB45-8E49-D7B5B27A6E6C}"/>
              </a:ext>
            </a:extLst>
          </p:cNvPr>
          <p:cNvSpPr txBox="1"/>
          <p:nvPr userDrawn="1"/>
        </p:nvSpPr>
        <p:spPr>
          <a:xfrm>
            <a:off x="482712" y="6389493"/>
            <a:ext cx="11069208" cy="230832"/>
          </a:xfrm>
          <a:prstGeom prst="rect">
            <a:avLst/>
          </a:prstGeom>
          <a:noFill/>
        </p:spPr>
        <p:txBody>
          <a:bodyPr wrap="square" rtlCol="0">
            <a:spAutoFit/>
          </a:bodyPr>
          <a:lstStyle/>
          <a:p>
            <a:pPr algn="r"/>
            <a:r>
              <a:rPr lang="en-US" sz="900" b="0" dirty="0">
                <a:solidFill>
                  <a:schemeClr val="bg1">
                    <a:lumMod val="50000"/>
                  </a:schemeClr>
                </a:solidFill>
              </a:rPr>
              <a:t>﻿</a:t>
            </a:r>
            <a:r>
              <a:rPr lang="en-US" sz="900" b="0" dirty="0">
                <a:solidFill>
                  <a:schemeClr val="tx1">
                    <a:lumMod val="60000"/>
                    <a:lumOff val="40000"/>
                  </a:schemeClr>
                </a:solidFill>
              </a:rPr>
              <a:t>Source</a:t>
            </a:r>
            <a:r>
              <a:rPr lang="en-US" sz="900" b="0" dirty="0">
                <a:solidFill>
                  <a:schemeClr val="bg1">
                    <a:lumMod val="50000"/>
                  </a:schemeClr>
                </a:solidFill>
              </a:rPr>
              <a:t>: STR. 2022 © CoStar Realty Information, Inc.</a:t>
            </a:r>
          </a:p>
        </p:txBody>
      </p:sp>
      <p:pic>
        <p:nvPicPr>
          <p:cNvPr id="18" name="Picture 17">
            <a:extLst>
              <a:ext uri="{FF2B5EF4-FFF2-40B4-BE49-F238E27FC236}">
                <a16:creationId xmlns:a16="http://schemas.microsoft.com/office/drawing/2014/main" id="{CC0C6598-DB9C-9F4A-863F-CA970BFF822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11078" y="299377"/>
            <a:ext cx="973700" cy="973700"/>
          </a:xfrm>
          <a:prstGeom prst="rect">
            <a:avLst/>
          </a:prstGeom>
        </p:spPr>
      </p:pic>
    </p:spTree>
    <p:extLst>
      <p:ext uri="{BB962C8B-B14F-4D97-AF65-F5344CB8AC3E}">
        <p14:creationId xmlns:p14="http://schemas.microsoft.com/office/powerpoint/2010/main" val="273424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_only">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576001" y="432002"/>
            <a:ext cx="9783850" cy="345972"/>
          </a:xfrm>
          <a:prstGeom prst="rect">
            <a:avLst/>
          </a:prstGeom>
        </p:spPr>
        <p:txBody>
          <a:bodyPr>
            <a:noAutofit/>
          </a:bodyPr>
          <a:lstStyle>
            <a:lvl1pPr algn="l">
              <a:lnSpc>
                <a:spcPts val="2667"/>
              </a:lnSpc>
              <a:defRPr sz="2800" b="1">
                <a:solidFill>
                  <a:schemeClr val="tx1"/>
                </a:solidFill>
                <a:latin typeface="+mn-lt"/>
                <a:cs typeface="Arial" pitchFamily="34" charset="0"/>
              </a:defRPr>
            </a:lvl1pPr>
          </a:lstStyle>
          <a:p>
            <a:r>
              <a:rPr lang="en-US" dirty="0"/>
              <a:t>Title</a:t>
            </a:r>
            <a:endParaRPr lang="en-GB" dirty="0"/>
          </a:p>
        </p:txBody>
      </p:sp>
      <p:sp>
        <p:nvSpPr>
          <p:cNvPr id="9" name="Text Placeholder 7"/>
          <p:cNvSpPr>
            <a:spLocks noGrp="1"/>
          </p:cNvSpPr>
          <p:nvPr>
            <p:ph type="body" sz="quarter" idx="13" hasCustomPrompt="1"/>
          </p:nvPr>
        </p:nvSpPr>
        <p:spPr>
          <a:xfrm>
            <a:off x="576000" y="781882"/>
            <a:ext cx="9783851" cy="303340"/>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10" name="Text Placeholder 7"/>
          <p:cNvSpPr>
            <a:spLocks noGrp="1"/>
          </p:cNvSpPr>
          <p:nvPr>
            <p:ph type="body" sz="quarter" idx="14" hasCustomPrompt="1"/>
          </p:nvPr>
        </p:nvSpPr>
        <p:spPr>
          <a:xfrm>
            <a:off x="576000" y="1094920"/>
            <a:ext cx="9783851" cy="331946"/>
          </a:xfrm>
          <a:prstGeom prst="rect">
            <a:avLst/>
          </a:prstGeom>
        </p:spPr>
        <p:txBody>
          <a:bodyPr>
            <a:noAutofit/>
          </a:bodyPr>
          <a:lstStyle>
            <a:lvl1pPr marL="0" indent="0" algn="l">
              <a:lnSpc>
                <a:spcPts val="2667"/>
              </a:lnSpc>
              <a:buNone/>
              <a:defRPr sz="2000">
                <a:solidFill>
                  <a:schemeClr val="tx1"/>
                </a:solidFill>
                <a:latin typeface="+mn-lt"/>
                <a:cs typeface="Arial" pitchFamily="34" charset="0"/>
              </a:defRPr>
            </a:lvl1pPr>
          </a:lstStyle>
          <a:p>
            <a:pPr lvl="0"/>
            <a:r>
              <a:rPr lang="en-GB" dirty="0"/>
              <a:t>Strapline</a:t>
            </a:r>
          </a:p>
        </p:txBody>
      </p:sp>
      <p:sp>
        <p:nvSpPr>
          <p:cNvPr id="6" name="Picture Placeholder 7">
            <a:extLst>
              <a:ext uri="{FF2B5EF4-FFF2-40B4-BE49-F238E27FC236}">
                <a16:creationId xmlns:a16="http://schemas.microsoft.com/office/drawing/2014/main" id="{98185818-FDBA-EE4A-A3D4-9A51E82061B0}"/>
              </a:ext>
            </a:extLst>
          </p:cNvPr>
          <p:cNvSpPr>
            <a:spLocks noGrp="1"/>
          </p:cNvSpPr>
          <p:nvPr>
            <p:ph type="pic" sz="quarter" idx="66"/>
          </p:nvPr>
        </p:nvSpPr>
        <p:spPr>
          <a:xfrm>
            <a:off x="3502523" y="2035098"/>
            <a:ext cx="2054390" cy="2053855"/>
          </a:xfrm>
          <a:prstGeom prst="ellipse">
            <a:avLst/>
          </a:prstGeom>
          <a:solidFill>
            <a:schemeClr val="bg1">
              <a:lumMod val="95000"/>
            </a:schemeClr>
          </a:solidFill>
          <a:effectLst/>
        </p:spPr>
        <p:txBody>
          <a:bodyPr wrap="square">
            <a:noAutofit/>
          </a:bodyPr>
          <a:lstStyle>
            <a:lvl1pPr marL="0" indent="0">
              <a:buNone/>
              <a:defRPr sz="1301" b="1" i="0">
                <a:ln>
                  <a:noFill/>
                </a:ln>
                <a:solidFill>
                  <a:schemeClr val="bg1">
                    <a:lumMod val="85000"/>
                  </a:schemeClr>
                </a:solidFill>
                <a:latin typeface="Open Sans Semibold" charset="0"/>
                <a:ea typeface="Open Sans Semibold" charset="0"/>
                <a:cs typeface="Open Sans Semibold" charset="0"/>
              </a:defRPr>
            </a:lvl1pPr>
          </a:lstStyle>
          <a:p>
            <a:r>
              <a:rPr lang="en-US" dirty="0"/>
              <a:t>Click icon to add picture</a:t>
            </a:r>
          </a:p>
        </p:txBody>
      </p:sp>
      <p:sp>
        <p:nvSpPr>
          <p:cNvPr id="7" name="Picture Placeholder 7">
            <a:extLst>
              <a:ext uri="{FF2B5EF4-FFF2-40B4-BE49-F238E27FC236}">
                <a16:creationId xmlns:a16="http://schemas.microsoft.com/office/drawing/2014/main" id="{84639073-5F72-9043-9030-121104229E04}"/>
              </a:ext>
            </a:extLst>
          </p:cNvPr>
          <p:cNvSpPr>
            <a:spLocks noGrp="1"/>
          </p:cNvSpPr>
          <p:nvPr>
            <p:ph type="pic" sz="quarter" idx="67"/>
          </p:nvPr>
        </p:nvSpPr>
        <p:spPr>
          <a:xfrm>
            <a:off x="6429045" y="2035098"/>
            <a:ext cx="2054390" cy="2053855"/>
          </a:xfrm>
          <a:prstGeom prst="ellipse">
            <a:avLst/>
          </a:prstGeom>
          <a:solidFill>
            <a:schemeClr val="bg1">
              <a:lumMod val="95000"/>
            </a:schemeClr>
          </a:solidFill>
          <a:effectLst/>
        </p:spPr>
        <p:txBody>
          <a:bodyPr wrap="square">
            <a:noAutofit/>
          </a:bodyPr>
          <a:lstStyle>
            <a:lvl1pPr marL="0" indent="0">
              <a:buNone/>
              <a:defRPr sz="1301" b="1" i="0">
                <a:ln>
                  <a:noFill/>
                </a:ln>
                <a:solidFill>
                  <a:schemeClr val="bg1">
                    <a:lumMod val="85000"/>
                  </a:schemeClr>
                </a:solidFill>
                <a:latin typeface="Open Sans Semibold" charset="0"/>
                <a:ea typeface="Open Sans Semibold" charset="0"/>
                <a:cs typeface="Open Sans Semibold" charset="0"/>
              </a:defRPr>
            </a:lvl1pPr>
          </a:lstStyle>
          <a:p>
            <a:r>
              <a:rPr lang="en-US" dirty="0"/>
              <a:t>Click icon to add picture</a:t>
            </a:r>
          </a:p>
        </p:txBody>
      </p:sp>
      <p:sp>
        <p:nvSpPr>
          <p:cNvPr id="11" name="Picture Placeholder 7">
            <a:extLst>
              <a:ext uri="{FF2B5EF4-FFF2-40B4-BE49-F238E27FC236}">
                <a16:creationId xmlns:a16="http://schemas.microsoft.com/office/drawing/2014/main" id="{247E79D3-3DA2-D24A-A405-10CED78996AA}"/>
              </a:ext>
            </a:extLst>
          </p:cNvPr>
          <p:cNvSpPr>
            <a:spLocks noGrp="1"/>
          </p:cNvSpPr>
          <p:nvPr>
            <p:ph type="pic" sz="quarter" idx="68"/>
          </p:nvPr>
        </p:nvSpPr>
        <p:spPr>
          <a:xfrm>
            <a:off x="576001" y="2035098"/>
            <a:ext cx="2054390" cy="2053855"/>
          </a:xfrm>
          <a:prstGeom prst="ellipse">
            <a:avLst/>
          </a:prstGeom>
          <a:solidFill>
            <a:schemeClr val="bg1">
              <a:lumMod val="95000"/>
            </a:schemeClr>
          </a:solidFill>
          <a:effectLst/>
        </p:spPr>
        <p:txBody>
          <a:bodyPr wrap="square">
            <a:noAutofit/>
          </a:bodyPr>
          <a:lstStyle>
            <a:lvl1pPr marL="0" indent="0">
              <a:buNone/>
              <a:defRPr sz="1301" b="1" i="0">
                <a:ln>
                  <a:noFill/>
                </a:ln>
                <a:solidFill>
                  <a:schemeClr val="bg1">
                    <a:lumMod val="85000"/>
                  </a:schemeClr>
                </a:solidFill>
                <a:latin typeface="Open Sans Semibold" charset="0"/>
                <a:ea typeface="Open Sans Semibold" charset="0"/>
                <a:cs typeface="Open Sans Semibold" charset="0"/>
              </a:defRPr>
            </a:lvl1pPr>
          </a:lstStyle>
          <a:p>
            <a:r>
              <a:rPr lang="en-US" dirty="0"/>
              <a:t>Click icon to add picture</a:t>
            </a:r>
          </a:p>
        </p:txBody>
      </p:sp>
      <p:sp>
        <p:nvSpPr>
          <p:cNvPr id="14" name="TextBox 13">
            <a:extLst>
              <a:ext uri="{FF2B5EF4-FFF2-40B4-BE49-F238E27FC236}">
                <a16:creationId xmlns:a16="http://schemas.microsoft.com/office/drawing/2014/main" id="{77441868-353C-CB45-8E49-D7B5B27A6E6C}"/>
              </a:ext>
            </a:extLst>
          </p:cNvPr>
          <p:cNvSpPr txBox="1"/>
          <p:nvPr userDrawn="1"/>
        </p:nvSpPr>
        <p:spPr>
          <a:xfrm>
            <a:off x="482712" y="6389493"/>
            <a:ext cx="11069208" cy="230832"/>
          </a:xfrm>
          <a:prstGeom prst="rect">
            <a:avLst/>
          </a:prstGeom>
          <a:noFill/>
        </p:spPr>
        <p:txBody>
          <a:bodyPr wrap="square" rtlCol="0">
            <a:spAutoFit/>
          </a:bodyPr>
          <a:lstStyle/>
          <a:p>
            <a:pPr algn="r"/>
            <a:r>
              <a:rPr lang="en-US" sz="900" b="0" dirty="0">
                <a:solidFill>
                  <a:schemeClr val="bg1">
                    <a:lumMod val="50000"/>
                  </a:schemeClr>
                </a:solidFill>
              </a:rPr>
              <a:t>﻿</a:t>
            </a:r>
            <a:r>
              <a:rPr lang="en-US" sz="900" b="0" dirty="0">
                <a:solidFill>
                  <a:schemeClr val="tx1">
                    <a:lumMod val="60000"/>
                    <a:lumOff val="40000"/>
                  </a:schemeClr>
                </a:solidFill>
              </a:rPr>
              <a:t>Source</a:t>
            </a:r>
            <a:r>
              <a:rPr lang="en-US" sz="900" b="0" dirty="0">
                <a:solidFill>
                  <a:schemeClr val="bg1">
                    <a:lumMod val="50000"/>
                  </a:schemeClr>
                </a:solidFill>
              </a:rPr>
              <a:t>: STR. 2022 © CoStar Realty Information, Inc.</a:t>
            </a:r>
          </a:p>
        </p:txBody>
      </p:sp>
      <p:pic>
        <p:nvPicPr>
          <p:cNvPr id="18" name="Picture 17">
            <a:extLst>
              <a:ext uri="{FF2B5EF4-FFF2-40B4-BE49-F238E27FC236}">
                <a16:creationId xmlns:a16="http://schemas.microsoft.com/office/drawing/2014/main" id="{CC0C6598-DB9C-9F4A-863F-CA970BFF822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11078" y="299377"/>
            <a:ext cx="973700" cy="973700"/>
          </a:xfrm>
          <a:prstGeom prst="rect">
            <a:avLst/>
          </a:prstGeom>
        </p:spPr>
      </p:pic>
      <p:sp>
        <p:nvSpPr>
          <p:cNvPr id="23" name="Picture Placeholder 7">
            <a:extLst>
              <a:ext uri="{FF2B5EF4-FFF2-40B4-BE49-F238E27FC236}">
                <a16:creationId xmlns:a16="http://schemas.microsoft.com/office/drawing/2014/main" id="{2AAE0185-BF6F-A841-B31D-E4C3A643EC97}"/>
              </a:ext>
            </a:extLst>
          </p:cNvPr>
          <p:cNvSpPr>
            <a:spLocks noGrp="1"/>
          </p:cNvSpPr>
          <p:nvPr>
            <p:ph type="pic" sz="quarter" idx="70"/>
          </p:nvPr>
        </p:nvSpPr>
        <p:spPr>
          <a:xfrm>
            <a:off x="9355567" y="2035097"/>
            <a:ext cx="2054390" cy="2053855"/>
          </a:xfrm>
          <a:prstGeom prst="ellipse">
            <a:avLst/>
          </a:prstGeom>
          <a:solidFill>
            <a:schemeClr val="bg1">
              <a:lumMod val="95000"/>
            </a:schemeClr>
          </a:solidFill>
          <a:effectLst/>
        </p:spPr>
        <p:txBody>
          <a:bodyPr wrap="square">
            <a:noAutofit/>
          </a:bodyPr>
          <a:lstStyle>
            <a:lvl1pPr marL="0" indent="0">
              <a:buNone/>
              <a:defRPr sz="1301" b="1" i="0">
                <a:ln>
                  <a:noFill/>
                </a:ln>
                <a:solidFill>
                  <a:schemeClr val="bg1">
                    <a:lumMod val="85000"/>
                  </a:schemeClr>
                </a:solidFill>
                <a:latin typeface="Open Sans Semibold" charset="0"/>
                <a:ea typeface="Open Sans Semibold" charset="0"/>
                <a:cs typeface="Open Sans Semibold" charset="0"/>
              </a:defRPr>
            </a:lvl1pPr>
          </a:lstStyle>
          <a:p>
            <a:r>
              <a:rPr lang="en-US" dirty="0"/>
              <a:t>Click icon to add picture</a:t>
            </a:r>
          </a:p>
        </p:txBody>
      </p:sp>
    </p:spTree>
    <p:extLst>
      <p:ext uri="{BB962C8B-B14F-4D97-AF65-F5344CB8AC3E}">
        <p14:creationId xmlns:p14="http://schemas.microsoft.com/office/powerpoint/2010/main" val="2628152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heme" Target="../theme/theme2.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381699"/>
            <a:ext cx="10972800" cy="11430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Second level</a:t>
            </a:r>
          </a:p>
          <a:p>
            <a:pPr lvl="1"/>
            <a:r>
              <a:rPr lang="en-US" dirty="0"/>
              <a:t>Headline</a:t>
            </a:r>
          </a:p>
          <a:p>
            <a:pPr lvl="2"/>
            <a:r>
              <a:rPr lang="en-US" dirty="0"/>
              <a:t>Body copy</a:t>
            </a:r>
          </a:p>
          <a:p>
            <a:pPr lvl="3"/>
            <a:endParaRPr lang="en-US" dirty="0"/>
          </a:p>
        </p:txBody>
      </p:sp>
      <p:sp>
        <p:nvSpPr>
          <p:cNvPr id="4" name="Slide Number Placeholder 3">
            <a:extLst>
              <a:ext uri="{FF2B5EF4-FFF2-40B4-BE49-F238E27FC236}">
                <a16:creationId xmlns:a16="http://schemas.microsoft.com/office/drawing/2014/main" id="{74E6EAAF-E60A-B541-AC83-D35F7278A929}"/>
              </a:ext>
            </a:extLst>
          </p:cNvPr>
          <p:cNvSpPr>
            <a:spLocks noGrp="1"/>
          </p:cNvSpPr>
          <p:nvPr>
            <p:ph type="sldNum" sz="quarter" idx="4"/>
          </p:nvPr>
        </p:nvSpPr>
        <p:spPr>
          <a:xfrm>
            <a:off x="11345601" y="6412376"/>
            <a:ext cx="473598" cy="185724"/>
          </a:xfrm>
          <a:prstGeom prst="rect">
            <a:avLst/>
          </a:prstGeom>
        </p:spPr>
        <p:txBody>
          <a:bodyPr vert="horz" lIns="91440" tIns="45720" rIns="91440" bIns="45720" rtlCol="0" anchor="ctr"/>
          <a:lstStyle>
            <a:lvl1pPr algn="r">
              <a:defRPr sz="900">
                <a:solidFill>
                  <a:schemeClr val="tx1">
                    <a:lumMod val="60000"/>
                    <a:lumOff val="40000"/>
                  </a:schemeClr>
                </a:solidFill>
              </a:defRPr>
            </a:lvl1pPr>
          </a:lstStyle>
          <a:p>
            <a:fld id="{32413461-4BB7-634E-A64C-F44C59018A3C}" type="slidenum">
              <a:rPr lang="en-US" smtClean="0"/>
              <a:pPr/>
              <a:t>‹#›</a:t>
            </a:fld>
            <a:endParaRPr lang="en-US" dirty="0"/>
          </a:p>
        </p:txBody>
      </p:sp>
    </p:spTree>
    <p:extLst>
      <p:ext uri="{BB962C8B-B14F-4D97-AF65-F5344CB8AC3E}">
        <p14:creationId xmlns:p14="http://schemas.microsoft.com/office/powerpoint/2010/main" val="34373283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1" r:id="rId10"/>
    <p:sldLayoutId id="2147483674" r:id="rId11"/>
    <p:sldLayoutId id="2147483675" r:id="rId12"/>
    <p:sldLayoutId id="2147483676" r:id="rId13"/>
    <p:sldLayoutId id="2147483684" r:id="rId14"/>
    <p:sldLayoutId id="2147483685" r:id="rId15"/>
    <p:sldLayoutId id="2147483686" r:id="rId16"/>
    <p:sldLayoutId id="2147483706" r:id="rId17"/>
    <p:sldLayoutId id="2147483707"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9170" rtl="0" eaLnBrk="1" latinLnBrk="0" hangingPunct="1">
        <a:spcBef>
          <a:spcPct val="0"/>
        </a:spcBef>
        <a:buNone/>
        <a:defRPr sz="2800" b="1"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990575" indent="-380990" algn="l" defTabSz="1219170" rtl="0" eaLnBrk="1" latinLnBrk="0" hangingPunct="1">
        <a:spcBef>
          <a:spcPct val="20000"/>
        </a:spcBef>
        <a:buFont typeface="Arial" panose="020B0604020202020204" pitchFamily="34" charset="0"/>
        <a:buChar char="–"/>
        <a:defRPr sz="1400" b="0" kern="1200">
          <a:solidFill>
            <a:schemeClr val="tx1"/>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1400" b="0" kern="1200">
          <a:solidFill>
            <a:schemeClr val="tx1"/>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133"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381699"/>
            <a:ext cx="10972800" cy="11430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Second level</a:t>
            </a:r>
          </a:p>
          <a:p>
            <a:pPr lvl="1"/>
            <a:r>
              <a:rPr lang="en-US" dirty="0"/>
              <a:t>Headline</a:t>
            </a:r>
          </a:p>
          <a:p>
            <a:pPr lvl="2"/>
            <a:r>
              <a:rPr lang="en-US" dirty="0"/>
              <a:t>Body copy</a:t>
            </a:r>
          </a:p>
          <a:p>
            <a:pPr lvl="3"/>
            <a:endParaRPr lang="en-US" dirty="0"/>
          </a:p>
        </p:txBody>
      </p:sp>
      <p:sp>
        <p:nvSpPr>
          <p:cNvPr id="6" name="TextBox 5">
            <a:extLst>
              <a:ext uri="{FF2B5EF4-FFF2-40B4-BE49-F238E27FC236}">
                <a16:creationId xmlns:a16="http://schemas.microsoft.com/office/drawing/2014/main" id="{8A8AC240-BD23-41EE-ABB6-8A7359AD03D7}"/>
              </a:ext>
            </a:extLst>
          </p:cNvPr>
          <p:cNvSpPr txBox="1"/>
          <p:nvPr userDrawn="1"/>
        </p:nvSpPr>
        <p:spPr>
          <a:xfrm>
            <a:off x="11588885" y="6372644"/>
            <a:ext cx="603115" cy="276999"/>
          </a:xfrm>
          <a:prstGeom prst="rect">
            <a:avLst/>
          </a:prstGeom>
          <a:noFill/>
        </p:spPr>
        <p:txBody>
          <a:bodyPr wrap="square" rtlCol="0">
            <a:spAutoFit/>
          </a:bodyPr>
          <a:lstStyle/>
          <a:p>
            <a:fld id="{166B8BCF-A347-4F44-8883-40CD8E479719}" type="slidenum">
              <a:rPr lang="en-US" sz="1200" smtClean="0">
                <a:solidFill>
                  <a:schemeClr val="tx1">
                    <a:lumMod val="40000"/>
                    <a:lumOff val="60000"/>
                  </a:schemeClr>
                </a:solidFill>
              </a:rPr>
              <a:t>‹#›</a:t>
            </a:fld>
            <a:endParaRPr lang="en-US" sz="1200" dirty="0">
              <a:solidFill>
                <a:schemeClr val="tx1">
                  <a:lumMod val="40000"/>
                  <a:lumOff val="60000"/>
                </a:schemeClr>
              </a:solidFill>
            </a:endParaRPr>
          </a:p>
        </p:txBody>
      </p:sp>
    </p:spTree>
    <p:extLst>
      <p:ext uri="{BB962C8B-B14F-4D97-AF65-F5344CB8AC3E}">
        <p14:creationId xmlns:p14="http://schemas.microsoft.com/office/powerpoint/2010/main" val="130407830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9170" rtl="0" eaLnBrk="1" latinLnBrk="0" hangingPunct="1">
        <a:spcBef>
          <a:spcPct val="0"/>
        </a:spcBef>
        <a:buNone/>
        <a:defRPr sz="2800" b="1"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990575" indent="-380990" algn="l" defTabSz="1219170" rtl="0" eaLnBrk="1" latinLnBrk="0" hangingPunct="1">
        <a:spcBef>
          <a:spcPct val="20000"/>
        </a:spcBef>
        <a:buFont typeface="Arial" panose="020B0604020202020204" pitchFamily="34" charset="0"/>
        <a:buChar char="–"/>
        <a:defRPr sz="1400" b="0" kern="1200">
          <a:solidFill>
            <a:schemeClr val="tx1"/>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1400" b="0" kern="1200">
          <a:solidFill>
            <a:schemeClr val="tx1"/>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133"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0.xml"/><Relationship Id="rId1" Type="http://schemas.openxmlformats.org/officeDocument/2006/relationships/slideLayout" Target="../slideLayouts/slideLayout18.xml"/><Relationship Id="rId6" Type="http://schemas.openxmlformats.org/officeDocument/2006/relationships/hyperlink" Target="https://creativecommons.org/licenses/by-nc-nd/3.0/" TargetMode="External"/><Relationship Id="rId5" Type="http://schemas.openxmlformats.org/officeDocument/2006/relationships/image" Target="../media/image2.emf"/><Relationship Id="rId4" Type="http://schemas.openxmlformats.org/officeDocument/2006/relationships/hyperlink" Target="http://www.chaoticcompendiums.com/2013/01/book-review-fever-season-epidemic-of.html" TargetMode="External"/></Relationships>
</file>

<file path=ppt/slides/_rels/slide1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chart" Target="../charts/chart11.xml"/></Relationships>
</file>

<file path=ppt/slides/_rels/slide14.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jpg"/><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11.png"/><Relationship Id="rId4" Type="http://schemas.openxmlformats.org/officeDocument/2006/relationships/chart" Target="../charts/chart20.xml"/></Relationships>
</file>

<file path=ppt/slides/_rels/slide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jpg"/><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chart" Target="../charts/chart22.xml"/></Relationships>
</file>

<file path=ppt/slides/_rels/slide22.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23.xml.rels><?xml version="1.0" encoding="UTF-8" standalone="yes"?>
<Relationships xmlns="http://schemas.openxmlformats.org/package/2006/relationships"><Relationship Id="rId3" Type="http://schemas.openxmlformats.org/officeDocument/2006/relationships/hyperlink" Target="mailto:icollazo@str.com" TargetMode="External"/><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441A8-B2D9-6042-B9A0-626B5B3EDE02}"/>
              </a:ext>
            </a:extLst>
          </p:cNvPr>
          <p:cNvSpPr>
            <a:spLocks noGrp="1"/>
          </p:cNvSpPr>
          <p:nvPr>
            <p:ph type="ctrTitle"/>
          </p:nvPr>
        </p:nvSpPr>
        <p:spPr>
          <a:xfrm>
            <a:off x="6411432" y="2558006"/>
            <a:ext cx="5197976" cy="1345070"/>
          </a:xfrm>
        </p:spPr>
        <p:txBody>
          <a:bodyPr>
            <a:normAutofit fontScale="90000"/>
          </a:bodyPr>
          <a:lstStyle/>
          <a:p>
            <a:r>
              <a:rPr lang="en-US" dirty="0"/>
              <a:t>The Lodging Industry</a:t>
            </a:r>
          </a:p>
        </p:txBody>
      </p:sp>
      <p:sp>
        <p:nvSpPr>
          <p:cNvPr id="3" name="Subtitle 2">
            <a:extLst>
              <a:ext uri="{FF2B5EF4-FFF2-40B4-BE49-F238E27FC236}">
                <a16:creationId xmlns:a16="http://schemas.microsoft.com/office/drawing/2014/main" id="{33579CA3-209B-0F4D-A66B-5F9CA081CC0C}"/>
              </a:ext>
            </a:extLst>
          </p:cNvPr>
          <p:cNvSpPr>
            <a:spLocks noGrp="1"/>
          </p:cNvSpPr>
          <p:nvPr>
            <p:ph type="subTitle" idx="1"/>
          </p:nvPr>
        </p:nvSpPr>
        <p:spPr>
          <a:xfrm>
            <a:off x="6411432" y="3903076"/>
            <a:ext cx="5197975" cy="1121274"/>
          </a:xfrm>
        </p:spPr>
        <p:txBody>
          <a:bodyPr/>
          <a:lstStyle/>
          <a:p>
            <a:r>
              <a:rPr lang="en-US" dirty="0"/>
              <a:t>Current Performance &amp; Outlook</a:t>
            </a:r>
            <a:br>
              <a:rPr lang="en-US" dirty="0"/>
            </a:br>
            <a:r>
              <a:rPr lang="en-US" sz="1800" dirty="0"/>
              <a:t> August 2022</a:t>
            </a:r>
          </a:p>
        </p:txBody>
      </p:sp>
      <p:sp>
        <p:nvSpPr>
          <p:cNvPr id="37" name="Text Placeholder 36">
            <a:extLst>
              <a:ext uri="{FF2B5EF4-FFF2-40B4-BE49-F238E27FC236}">
                <a16:creationId xmlns:a16="http://schemas.microsoft.com/office/drawing/2014/main" id="{BB9C0D57-C65E-5C4E-81B4-AA3635986F00}"/>
              </a:ext>
            </a:extLst>
          </p:cNvPr>
          <p:cNvSpPr>
            <a:spLocks noGrp="1"/>
          </p:cNvSpPr>
          <p:nvPr>
            <p:ph type="body" sz="quarter" idx="12"/>
          </p:nvPr>
        </p:nvSpPr>
        <p:spPr/>
        <p:txBody>
          <a:bodyPr/>
          <a:lstStyle/>
          <a:p>
            <a:r>
              <a:rPr lang="en-US" sz="2000" dirty="0"/>
              <a:t>Isaac Collazo </a:t>
            </a:r>
            <a:r>
              <a:rPr lang="en-US" sz="2000" b="0" dirty="0"/>
              <a:t>| </a:t>
            </a:r>
            <a:r>
              <a:rPr lang="en-US" b="0" dirty="0"/>
              <a:t>VP, Analytics</a:t>
            </a:r>
            <a:endParaRPr lang="en-US" sz="2000" b="0" dirty="0"/>
          </a:p>
        </p:txBody>
      </p:sp>
      <p:sp>
        <p:nvSpPr>
          <p:cNvPr id="9" name="Parallelogram 8">
            <a:extLst>
              <a:ext uri="{FF2B5EF4-FFF2-40B4-BE49-F238E27FC236}">
                <a16:creationId xmlns:a16="http://schemas.microsoft.com/office/drawing/2014/main" id="{D08564D8-809E-1F43-A580-2FED2D8F8132}"/>
              </a:ext>
            </a:extLst>
          </p:cNvPr>
          <p:cNvSpPr/>
          <p:nvPr/>
        </p:nvSpPr>
        <p:spPr>
          <a:xfrm>
            <a:off x="240890" y="1115218"/>
            <a:ext cx="6171415" cy="5753076"/>
          </a:xfrm>
          <a:prstGeom prst="parallelogram">
            <a:avLst>
              <a:gd name="adj" fmla="val 38882"/>
            </a:avLst>
          </a:prstGeom>
          <a:gradFill>
            <a:gsLst>
              <a:gs pos="39000">
                <a:srgbClr val="1A9A8D">
                  <a:alpha val="84000"/>
                </a:srgbClr>
              </a:gs>
              <a:gs pos="0">
                <a:schemeClr val="tx2"/>
              </a:gs>
              <a:gs pos="100000">
                <a:srgbClr val="00B8B0">
                  <a:alpha val="71000"/>
                </a:srgbClr>
              </a:gs>
            </a:gsLst>
            <a:lin ang="0" scaled="1"/>
          </a:gradFill>
          <a:ln w="127000" cap="rnd">
            <a:noFill/>
          </a:ln>
          <a:effectLst>
            <a:outerShdw blurRad="101600" dist="139700" dir="8040000" sx="91000" sy="91000" algn="t" rotWithShape="0">
              <a:schemeClr val="tx2">
                <a:alpha val="30000"/>
              </a:schemeClr>
            </a:outerShdw>
            <a:softEdge rad="0"/>
          </a:effectLst>
        </p:spPr>
        <p:txBody>
          <a:bodyPr vert="horz" lIns="45720" tIns="22860" rIns="45720" bIns="2286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 name="Parallelogram 9">
            <a:extLst>
              <a:ext uri="{FF2B5EF4-FFF2-40B4-BE49-F238E27FC236}">
                <a16:creationId xmlns:a16="http://schemas.microsoft.com/office/drawing/2014/main" id="{D567CE45-CF19-E342-AC05-9FD974064160}"/>
              </a:ext>
            </a:extLst>
          </p:cNvPr>
          <p:cNvSpPr/>
          <p:nvPr/>
        </p:nvSpPr>
        <p:spPr>
          <a:xfrm>
            <a:off x="3459061" y="3560755"/>
            <a:ext cx="2612007" cy="3307539"/>
          </a:xfrm>
          <a:prstGeom prst="parallelogram">
            <a:avLst>
              <a:gd name="adj" fmla="val 46348"/>
            </a:avLst>
          </a:prstGeom>
          <a:gradFill flip="none" rotWithShape="1">
            <a:gsLst>
              <a:gs pos="0">
                <a:schemeClr val="accent1">
                  <a:lumMod val="50000"/>
                </a:schemeClr>
              </a:gs>
              <a:gs pos="100000">
                <a:srgbClr val="00B8B0">
                  <a:alpha val="40000"/>
                </a:srgbClr>
              </a:gs>
            </a:gsLst>
            <a:lin ang="0" scaled="1"/>
            <a:tileRect/>
          </a:gradFill>
          <a:ln w="127000" cap="rnd">
            <a:noFill/>
          </a:ln>
          <a:effectLst>
            <a:outerShdw blurRad="101600" dist="139700" dir="8040000" sx="91000" sy="91000" algn="t" rotWithShape="0">
              <a:schemeClr val="tx2">
                <a:lumMod val="75000"/>
                <a:alpha val="31000"/>
              </a:schemeClr>
            </a:outerShdw>
            <a:softEdge rad="0"/>
          </a:effectLst>
        </p:spPr>
        <p:txBody>
          <a:bodyPr vert="horz" lIns="45720" tIns="22860" rIns="45720" bIns="2286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942390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C9892BC-08FA-4547-9979-D8FA4FBBBF9B}"/>
              </a:ext>
            </a:extLst>
          </p:cNvPr>
          <p:cNvSpPr/>
          <p:nvPr/>
        </p:nvSpPr>
        <p:spPr>
          <a:xfrm>
            <a:off x="582281" y="4010159"/>
            <a:ext cx="11266625" cy="1390128"/>
          </a:xfrm>
          <a:prstGeom prst="rect">
            <a:avLst/>
          </a:prstGeom>
          <a:solidFill>
            <a:srgbClr val="FF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43B191F-263B-4014-AD0E-191B8F3C494D}"/>
              </a:ext>
            </a:extLst>
          </p:cNvPr>
          <p:cNvSpPr/>
          <p:nvPr/>
        </p:nvSpPr>
        <p:spPr>
          <a:xfrm>
            <a:off x="582475" y="3209731"/>
            <a:ext cx="11266624" cy="800427"/>
          </a:xfrm>
          <a:prstGeom prst="rect">
            <a:avLst/>
          </a:prstGeom>
          <a:solidFill>
            <a:srgbClr val="FFC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8D9699E7-F354-4640-8817-1018735B89BA}"/>
              </a:ext>
            </a:extLst>
          </p:cNvPr>
          <p:cNvSpPr/>
          <p:nvPr/>
        </p:nvSpPr>
        <p:spPr>
          <a:xfrm>
            <a:off x="582476" y="2668555"/>
            <a:ext cx="11266624" cy="541175"/>
          </a:xfrm>
          <a:prstGeom prst="rect">
            <a:avLst/>
          </a:prstGeom>
          <a:solidFill>
            <a:schemeClr val="accent6">
              <a:lumMod val="60000"/>
              <a:lumOff val="4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163" name="Rectangle 3"/>
          <p:cNvSpPr>
            <a:spLocks noGrp="1" noChangeArrowheads="1"/>
          </p:cNvSpPr>
          <p:nvPr>
            <p:ph type="title"/>
          </p:nvPr>
        </p:nvSpPr>
        <p:spPr bwMode="auto">
          <a:xfrm>
            <a:off x="576001" y="432811"/>
            <a:ext cx="10228848" cy="446789"/>
          </a:xfrm>
          <a:noFill/>
          <a:ln>
            <a:miter lim="800000"/>
            <a:headEnd/>
            <a:tailEnd/>
          </a:ln>
        </p:spPr>
        <p:txBody>
          <a:bodyPr vert="horz" wrap="square" lIns="91440" tIns="45720" rIns="91440" bIns="45720" numCol="1" rtlCol="0" anchor="ctr" anchorCtr="0" compatLnSpc="1">
            <a:prstTxWarp prst="textNoShape">
              <a:avLst/>
            </a:prstTxWarp>
            <a:spAutoFit/>
          </a:bodyPr>
          <a:lstStyle/>
          <a:p>
            <a:r>
              <a:rPr lang="en-US" dirty="0"/>
              <a:t>U.S. RevPAR near “peak” RevPAR</a:t>
            </a:r>
          </a:p>
        </p:txBody>
      </p:sp>
      <p:sp>
        <p:nvSpPr>
          <p:cNvPr id="2" name="Text Placeholder 1"/>
          <p:cNvSpPr>
            <a:spLocks noGrp="1"/>
          </p:cNvSpPr>
          <p:nvPr>
            <p:ph type="body" sz="quarter" idx="13"/>
          </p:nvPr>
        </p:nvSpPr>
        <p:spPr>
          <a:xfrm>
            <a:off x="576000" y="791724"/>
            <a:ext cx="11273100" cy="303340"/>
          </a:xfrm>
        </p:spPr>
        <p:txBody>
          <a:bodyPr/>
          <a:lstStyle/>
          <a:p>
            <a:pPr>
              <a:lnSpc>
                <a:spcPct val="100000"/>
              </a:lnSpc>
              <a:spcBef>
                <a:spcPts val="0"/>
              </a:spcBef>
            </a:pPr>
            <a:r>
              <a:rPr lang="en-US" dirty="0"/>
              <a:t>U.S. nominal &amp; real (inflation-adjusted) RevPAR, indexed to 2019</a:t>
            </a:r>
          </a:p>
        </p:txBody>
      </p:sp>
      <p:sp>
        <p:nvSpPr>
          <p:cNvPr id="4" name="TextBox 3">
            <a:extLst>
              <a:ext uri="{FF2B5EF4-FFF2-40B4-BE49-F238E27FC236}">
                <a16:creationId xmlns:a16="http://schemas.microsoft.com/office/drawing/2014/main" id="{9B29DD9E-B376-4BB7-A05A-420CCF38D34A}"/>
              </a:ext>
            </a:extLst>
          </p:cNvPr>
          <p:cNvSpPr txBox="1"/>
          <p:nvPr/>
        </p:nvSpPr>
        <p:spPr>
          <a:xfrm rot="16200000">
            <a:off x="285059" y="4596007"/>
            <a:ext cx="899477" cy="276999"/>
          </a:xfrm>
          <a:prstGeom prst="rect">
            <a:avLst/>
          </a:prstGeom>
          <a:noFill/>
        </p:spPr>
        <p:txBody>
          <a:bodyPr wrap="none" rtlCol="0">
            <a:spAutoFit/>
          </a:bodyPr>
          <a:lstStyle/>
          <a:p>
            <a:r>
              <a:rPr lang="en-US" sz="1200" b="1" dirty="0"/>
              <a:t>Depression</a:t>
            </a:r>
          </a:p>
        </p:txBody>
      </p:sp>
      <p:sp>
        <p:nvSpPr>
          <p:cNvPr id="9" name="TextBox 8">
            <a:extLst>
              <a:ext uri="{FF2B5EF4-FFF2-40B4-BE49-F238E27FC236}">
                <a16:creationId xmlns:a16="http://schemas.microsoft.com/office/drawing/2014/main" id="{0727A4CC-A588-4C27-B1DA-57049EEA926B}"/>
              </a:ext>
            </a:extLst>
          </p:cNvPr>
          <p:cNvSpPr txBox="1"/>
          <p:nvPr/>
        </p:nvSpPr>
        <p:spPr>
          <a:xfrm rot="16200000">
            <a:off x="327793" y="3468170"/>
            <a:ext cx="814005" cy="276999"/>
          </a:xfrm>
          <a:prstGeom prst="rect">
            <a:avLst/>
          </a:prstGeom>
          <a:noFill/>
        </p:spPr>
        <p:txBody>
          <a:bodyPr wrap="none" rtlCol="0">
            <a:spAutoFit/>
          </a:bodyPr>
          <a:lstStyle/>
          <a:p>
            <a:r>
              <a:rPr lang="en-US" sz="1200" b="1" dirty="0"/>
              <a:t>Recession</a:t>
            </a:r>
            <a:endParaRPr lang="en-US" sz="1600" b="1" dirty="0"/>
          </a:p>
        </p:txBody>
      </p:sp>
      <p:sp>
        <p:nvSpPr>
          <p:cNvPr id="10" name="TextBox 9">
            <a:extLst>
              <a:ext uri="{FF2B5EF4-FFF2-40B4-BE49-F238E27FC236}">
                <a16:creationId xmlns:a16="http://schemas.microsoft.com/office/drawing/2014/main" id="{65C411D2-A4C5-4671-A474-291CA37A0C85}"/>
              </a:ext>
            </a:extLst>
          </p:cNvPr>
          <p:cNvSpPr txBox="1"/>
          <p:nvPr/>
        </p:nvSpPr>
        <p:spPr>
          <a:xfrm rot="16200000">
            <a:off x="351196" y="2826109"/>
            <a:ext cx="767198" cy="276999"/>
          </a:xfrm>
          <a:prstGeom prst="rect">
            <a:avLst/>
          </a:prstGeom>
          <a:noFill/>
        </p:spPr>
        <p:txBody>
          <a:bodyPr wrap="none" rtlCol="0">
            <a:spAutoFit/>
          </a:bodyPr>
          <a:lstStyle/>
          <a:p>
            <a:r>
              <a:rPr lang="en-US" sz="1200" b="1" dirty="0"/>
              <a:t>Recovery</a:t>
            </a:r>
          </a:p>
        </p:txBody>
      </p:sp>
      <p:sp>
        <p:nvSpPr>
          <p:cNvPr id="11" name="Rectangle 10">
            <a:extLst>
              <a:ext uri="{FF2B5EF4-FFF2-40B4-BE49-F238E27FC236}">
                <a16:creationId xmlns:a16="http://schemas.microsoft.com/office/drawing/2014/main" id="{D5E315AC-4C75-4C69-B4FF-D1D7C0DF9A06}"/>
              </a:ext>
            </a:extLst>
          </p:cNvPr>
          <p:cNvSpPr/>
          <p:nvPr/>
        </p:nvSpPr>
        <p:spPr>
          <a:xfrm>
            <a:off x="576253" y="2130485"/>
            <a:ext cx="11266624" cy="541175"/>
          </a:xfrm>
          <a:prstGeom prst="rect">
            <a:avLst/>
          </a:prstGeom>
          <a:solidFill>
            <a:schemeClr val="accent6">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AAEE8750-86A1-487F-BCB4-C3D0947CC709}"/>
              </a:ext>
            </a:extLst>
          </p:cNvPr>
          <p:cNvSpPr txBox="1"/>
          <p:nvPr/>
        </p:nvSpPr>
        <p:spPr>
          <a:xfrm rot="16200000">
            <a:off x="464939" y="2232057"/>
            <a:ext cx="489942" cy="276999"/>
          </a:xfrm>
          <a:prstGeom prst="rect">
            <a:avLst/>
          </a:prstGeom>
          <a:noFill/>
        </p:spPr>
        <p:txBody>
          <a:bodyPr wrap="none" rtlCol="0">
            <a:spAutoFit/>
          </a:bodyPr>
          <a:lstStyle/>
          <a:p>
            <a:r>
              <a:rPr lang="en-US" sz="1200" b="1" dirty="0"/>
              <a:t>Peak</a:t>
            </a:r>
          </a:p>
        </p:txBody>
      </p:sp>
      <p:graphicFrame>
        <p:nvGraphicFramePr>
          <p:cNvPr id="23" name="Object 2"/>
          <p:cNvGraphicFramePr>
            <a:graphicFrameLocks noGrp="1" noChangeAspect="1"/>
          </p:cNvGraphicFramePr>
          <p:nvPr>
            <p:ph idx="4294967295"/>
            <p:extLst>
              <p:ext uri="{D42A27DB-BD31-4B8C-83A1-F6EECF244321}">
                <p14:modId xmlns:p14="http://schemas.microsoft.com/office/powerpoint/2010/main" val="979101421"/>
              </p:ext>
            </p:extLst>
          </p:nvPr>
        </p:nvGraphicFramePr>
        <p:xfrm>
          <a:off x="576000" y="1646139"/>
          <a:ext cx="11273099" cy="46053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242755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D5828020-DEE0-9D47-8EF2-FB18BC0853AA}"/>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11487" t="7826" b="7826"/>
          <a:stretch/>
        </p:blipFill>
        <p:spPr>
          <a:xfrm>
            <a:off x="-352426" y="322402"/>
            <a:ext cx="12403067" cy="7882196"/>
          </a:xfrm>
        </p:spPr>
      </p:pic>
      <p:sp>
        <p:nvSpPr>
          <p:cNvPr id="10" name="Gradient">
            <a:extLst>
              <a:ext uri="{FF2B5EF4-FFF2-40B4-BE49-F238E27FC236}">
                <a16:creationId xmlns:a16="http://schemas.microsoft.com/office/drawing/2014/main" id="{A40D8F02-99C9-3349-BB2A-13DAF232A8A9}"/>
              </a:ext>
            </a:extLst>
          </p:cNvPr>
          <p:cNvSpPr/>
          <p:nvPr/>
        </p:nvSpPr>
        <p:spPr>
          <a:xfrm>
            <a:off x="-22787" y="-49073"/>
            <a:ext cx="12214786" cy="6886291"/>
          </a:xfrm>
          <a:custGeom>
            <a:avLst/>
            <a:gdLst>
              <a:gd name="connsiteX0" fmla="*/ 6655033 w 24377650"/>
              <a:gd name="connsiteY0" fmla="*/ 2253637 h 13716000"/>
              <a:gd name="connsiteX1" fmla="*/ 1239223 w 24377650"/>
              <a:gd name="connsiteY1" fmla="*/ 7669447 h 13716000"/>
              <a:gd name="connsiteX2" fmla="*/ 6655033 w 24377650"/>
              <a:gd name="connsiteY2" fmla="*/ 13085257 h 13716000"/>
              <a:gd name="connsiteX3" fmla="*/ 12070842 w 24377650"/>
              <a:gd name="connsiteY3" fmla="*/ 7669447 h 13716000"/>
              <a:gd name="connsiteX4" fmla="*/ 6655033 w 24377650"/>
              <a:gd name="connsiteY4" fmla="*/ 2253637 h 13716000"/>
              <a:gd name="connsiteX5" fmla="*/ 0 w 24377650"/>
              <a:gd name="connsiteY5" fmla="*/ 0 h 13716000"/>
              <a:gd name="connsiteX6" fmla="*/ 24377650 w 24377650"/>
              <a:gd name="connsiteY6" fmla="*/ 0 h 13716000"/>
              <a:gd name="connsiteX7" fmla="*/ 24377650 w 24377650"/>
              <a:gd name="connsiteY7" fmla="*/ 13716000 h 13716000"/>
              <a:gd name="connsiteX8" fmla="*/ 0 w 24377650"/>
              <a:gd name="connsiteY8" fmla="*/ 13716000 h 13716000"/>
              <a:gd name="connsiteX0" fmla="*/ 6655033 w 24377650"/>
              <a:gd name="connsiteY0" fmla="*/ 2253637 h 14525468"/>
              <a:gd name="connsiteX1" fmla="*/ 1239223 w 24377650"/>
              <a:gd name="connsiteY1" fmla="*/ 7669447 h 14525468"/>
              <a:gd name="connsiteX2" fmla="*/ 6655033 w 24377650"/>
              <a:gd name="connsiteY2" fmla="*/ 13085257 h 14525468"/>
              <a:gd name="connsiteX3" fmla="*/ 12070842 w 24377650"/>
              <a:gd name="connsiteY3" fmla="*/ 7669447 h 14525468"/>
              <a:gd name="connsiteX4" fmla="*/ 6655033 w 24377650"/>
              <a:gd name="connsiteY4" fmla="*/ 2253637 h 14525468"/>
              <a:gd name="connsiteX5" fmla="*/ 0 w 24377650"/>
              <a:gd name="connsiteY5" fmla="*/ 0 h 14525468"/>
              <a:gd name="connsiteX6" fmla="*/ 24377650 w 24377650"/>
              <a:gd name="connsiteY6" fmla="*/ 0 h 14525468"/>
              <a:gd name="connsiteX7" fmla="*/ 24377650 w 24377650"/>
              <a:gd name="connsiteY7" fmla="*/ 13716000 h 14525468"/>
              <a:gd name="connsiteX8" fmla="*/ 0 w 24377650"/>
              <a:gd name="connsiteY8" fmla="*/ 14525468 h 14525468"/>
              <a:gd name="connsiteX9" fmla="*/ 0 w 24377650"/>
              <a:gd name="connsiteY9" fmla="*/ 0 h 14525468"/>
              <a:gd name="connsiteX0" fmla="*/ 6655033 w 24377650"/>
              <a:gd name="connsiteY0" fmla="*/ 2253637 h 14555450"/>
              <a:gd name="connsiteX1" fmla="*/ 1239223 w 24377650"/>
              <a:gd name="connsiteY1" fmla="*/ 7669447 h 14555450"/>
              <a:gd name="connsiteX2" fmla="*/ 6655033 w 24377650"/>
              <a:gd name="connsiteY2" fmla="*/ 13085257 h 14555450"/>
              <a:gd name="connsiteX3" fmla="*/ 12070842 w 24377650"/>
              <a:gd name="connsiteY3" fmla="*/ 7669447 h 14555450"/>
              <a:gd name="connsiteX4" fmla="*/ 6655033 w 24377650"/>
              <a:gd name="connsiteY4" fmla="*/ 2253637 h 14555450"/>
              <a:gd name="connsiteX5" fmla="*/ 0 w 24377650"/>
              <a:gd name="connsiteY5" fmla="*/ 0 h 14555450"/>
              <a:gd name="connsiteX6" fmla="*/ 24377650 w 24377650"/>
              <a:gd name="connsiteY6" fmla="*/ 0 h 14555450"/>
              <a:gd name="connsiteX7" fmla="*/ 24287708 w 24377650"/>
              <a:gd name="connsiteY7" fmla="*/ 14555450 h 14555450"/>
              <a:gd name="connsiteX8" fmla="*/ 0 w 24377650"/>
              <a:gd name="connsiteY8" fmla="*/ 14525468 h 14555450"/>
              <a:gd name="connsiteX9" fmla="*/ 0 w 24377650"/>
              <a:gd name="connsiteY9" fmla="*/ 0 h 14555450"/>
              <a:gd name="connsiteX0" fmla="*/ 6685013 w 24407630"/>
              <a:gd name="connsiteY0" fmla="*/ 2253637 h 14555450"/>
              <a:gd name="connsiteX1" fmla="*/ 1269203 w 24407630"/>
              <a:gd name="connsiteY1" fmla="*/ 7669447 h 14555450"/>
              <a:gd name="connsiteX2" fmla="*/ 6685013 w 24407630"/>
              <a:gd name="connsiteY2" fmla="*/ 13085257 h 14555450"/>
              <a:gd name="connsiteX3" fmla="*/ 12100822 w 24407630"/>
              <a:gd name="connsiteY3" fmla="*/ 7669447 h 14555450"/>
              <a:gd name="connsiteX4" fmla="*/ 6685013 w 24407630"/>
              <a:gd name="connsiteY4" fmla="*/ 2253637 h 14555450"/>
              <a:gd name="connsiteX5" fmla="*/ 0 w 24407630"/>
              <a:gd name="connsiteY5" fmla="*/ 989350 h 14555450"/>
              <a:gd name="connsiteX6" fmla="*/ 24407630 w 24407630"/>
              <a:gd name="connsiteY6" fmla="*/ 0 h 14555450"/>
              <a:gd name="connsiteX7" fmla="*/ 24317688 w 24407630"/>
              <a:gd name="connsiteY7" fmla="*/ 14555450 h 14555450"/>
              <a:gd name="connsiteX8" fmla="*/ 29980 w 24407630"/>
              <a:gd name="connsiteY8" fmla="*/ 14525468 h 14555450"/>
              <a:gd name="connsiteX9" fmla="*/ 0 w 24407630"/>
              <a:gd name="connsiteY9" fmla="*/ 989350 h 14555450"/>
              <a:gd name="connsiteX0" fmla="*/ 6685013 w 24407630"/>
              <a:gd name="connsiteY0" fmla="*/ 2253637 h 14555450"/>
              <a:gd name="connsiteX1" fmla="*/ 1269203 w 24407630"/>
              <a:gd name="connsiteY1" fmla="*/ 7669447 h 14555450"/>
              <a:gd name="connsiteX2" fmla="*/ 6685013 w 24407630"/>
              <a:gd name="connsiteY2" fmla="*/ 13085257 h 14555450"/>
              <a:gd name="connsiteX3" fmla="*/ 12100822 w 24407630"/>
              <a:gd name="connsiteY3" fmla="*/ 7669447 h 14555450"/>
              <a:gd name="connsiteX4" fmla="*/ 6685013 w 24407630"/>
              <a:gd name="connsiteY4" fmla="*/ 2253637 h 14555450"/>
              <a:gd name="connsiteX5" fmla="*/ 0 w 24407630"/>
              <a:gd name="connsiteY5" fmla="*/ 869428 h 14555450"/>
              <a:gd name="connsiteX6" fmla="*/ 24407630 w 24407630"/>
              <a:gd name="connsiteY6" fmla="*/ 0 h 14555450"/>
              <a:gd name="connsiteX7" fmla="*/ 24317688 w 24407630"/>
              <a:gd name="connsiteY7" fmla="*/ 14555450 h 14555450"/>
              <a:gd name="connsiteX8" fmla="*/ 29980 w 24407630"/>
              <a:gd name="connsiteY8" fmla="*/ 14525468 h 14555450"/>
              <a:gd name="connsiteX9" fmla="*/ 0 w 24407630"/>
              <a:gd name="connsiteY9" fmla="*/ 869428 h 14555450"/>
              <a:gd name="connsiteX0" fmla="*/ 6685013 w 24317688"/>
              <a:gd name="connsiteY0" fmla="*/ 1384209 h 13686022"/>
              <a:gd name="connsiteX1" fmla="*/ 1269203 w 24317688"/>
              <a:gd name="connsiteY1" fmla="*/ 6800019 h 13686022"/>
              <a:gd name="connsiteX2" fmla="*/ 6685013 w 24317688"/>
              <a:gd name="connsiteY2" fmla="*/ 12215829 h 13686022"/>
              <a:gd name="connsiteX3" fmla="*/ 12100822 w 24317688"/>
              <a:gd name="connsiteY3" fmla="*/ 6800019 h 13686022"/>
              <a:gd name="connsiteX4" fmla="*/ 6685013 w 24317688"/>
              <a:gd name="connsiteY4" fmla="*/ 1384209 h 13686022"/>
              <a:gd name="connsiteX5" fmla="*/ 0 w 24317688"/>
              <a:gd name="connsiteY5" fmla="*/ 0 h 13686022"/>
              <a:gd name="connsiteX6" fmla="*/ 24317688 w 24317688"/>
              <a:gd name="connsiteY6" fmla="*/ 1558978 h 13686022"/>
              <a:gd name="connsiteX7" fmla="*/ 24317688 w 24317688"/>
              <a:gd name="connsiteY7" fmla="*/ 13686022 h 13686022"/>
              <a:gd name="connsiteX8" fmla="*/ 29980 w 24317688"/>
              <a:gd name="connsiteY8" fmla="*/ 13656040 h 13686022"/>
              <a:gd name="connsiteX9" fmla="*/ 0 w 24317688"/>
              <a:gd name="connsiteY9" fmla="*/ 0 h 13686022"/>
              <a:gd name="connsiteX0" fmla="*/ 6685013 w 24377648"/>
              <a:gd name="connsiteY0" fmla="*/ 1414189 h 13716002"/>
              <a:gd name="connsiteX1" fmla="*/ 1269203 w 24377648"/>
              <a:gd name="connsiteY1" fmla="*/ 6829999 h 13716002"/>
              <a:gd name="connsiteX2" fmla="*/ 6685013 w 24377648"/>
              <a:gd name="connsiteY2" fmla="*/ 12245809 h 13716002"/>
              <a:gd name="connsiteX3" fmla="*/ 12100822 w 24377648"/>
              <a:gd name="connsiteY3" fmla="*/ 6829999 h 13716002"/>
              <a:gd name="connsiteX4" fmla="*/ 6685013 w 24377648"/>
              <a:gd name="connsiteY4" fmla="*/ 1414189 h 13716002"/>
              <a:gd name="connsiteX5" fmla="*/ 0 w 24377648"/>
              <a:gd name="connsiteY5" fmla="*/ 29980 h 13716002"/>
              <a:gd name="connsiteX6" fmla="*/ 24377648 w 24377648"/>
              <a:gd name="connsiteY6" fmla="*/ 0 h 13716002"/>
              <a:gd name="connsiteX7" fmla="*/ 24317688 w 24377648"/>
              <a:gd name="connsiteY7" fmla="*/ 13716002 h 13716002"/>
              <a:gd name="connsiteX8" fmla="*/ 29980 w 24377648"/>
              <a:gd name="connsiteY8" fmla="*/ 13686020 h 13716002"/>
              <a:gd name="connsiteX9" fmla="*/ 0 w 24377648"/>
              <a:gd name="connsiteY9" fmla="*/ 29980 h 13716002"/>
              <a:gd name="connsiteX0" fmla="*/ 6714993 w 24407628"/>
              <a:gd name="connsiteY0" fmla="*/ 1474149 h 13775962"/>
              <a:gd name="connsiteX1" fmla="*/ 1299183 w 24407628"/>
              <a:gd name="connsiteY1" fmla="*/ 6889959 h 13775962"/>
              <a:gd name="connsiteX2" fmla="*/ 6714993 w 24407628"/>
              <a:gd name="connsiteY2" fmla="*/ 12305769 h 13775962"/>
              <a:gd name="connsiteX3" fmla="*/ 12130802 w 24407628"/>
              <a:gd name="connsiteY3" fmla="*/ 6889959 h 13775962"/>
              <a:gd name="connsiteX4" fmla="*/ 6714993 w 24407628"/>
              <a:gd name="connsiteY4" fmla="*/ 1474149 h 13775962"/>
              <a:gd name="connsiteX5" fmla="*/ 0 w 24407628"/>
              <a:gd name="connsiteY5" fmla="*/ 0 h 13775962"/>
              <a:gd name="connsiteX6" fmla="*/ 24407628 w 24407628"/>
              <a:gd name="connsiteY6" fmla="*/ 59960 h 13775962"/>
              <a:gd name="connsiteX7" fmla="*/ 24347668 w 24407628"/>
              <a:gd name="connsiteY7" fmla="*/ 13775962 h 13775962"/>
              <a:gd name="connsiteX8" fmla="*/ 59960 w 24407628"/>
              <a:gd name="connsiteY8" fmla="*/ 13745980 h 13775962"/>
              <a:gd name="connsiteX9" fmla="*/ 0 w 24407628"/>
              <a:gd name="connsiteY9" fmla="*/ 0 h 13775962"/>
              <a:gd name="connsiteX0" fmla="*/ 6714993 w 24407628"/>
              <a:gd name="connsiteY0" fmla="*/ 1414189 h 13716002"/>
              <a:gd name="connsiteX1" fmla="*/ 1299183 w 24407628"/>
              <a:gd name="connsiteY1" fmla="*/ 6829999 h 13716002"/>
              <a:gd name="connsiteX2" fmla="*/ 6714993 w 24407628"/>
              <a:gd name="connsiteY2" fmla="*/ 12245809 h 13716002"/>
              <a:gd name="connsiteX3" fmla="*/ 12130802 w 24407628"/>
              <a:gd name="connsiteY3" fmla="*/ 6829999 h 13716002"/>
              <a:gd name="connsiteX4" fmla="*/ 6714993 w 24407628"/>
              <a:gd name="connsiteY4" fmla="*/ 1414189 h 13716002"/>
              <a:gd name="connsiteX5" fmla="*/ 0 w 24407628"/>
              <a:gd name="connsiteY5" fmla="*/ 29980 h 13716002"/>
              <a:gd name="connsiteX6" fmla="*/ 24407628 w 24407628"/>
              <a:gd name="connsiteY6" fmla="*/ 0 h 13716002"/>
              <a:gd name="connsiteX7" fmla="*/ 24347668 w 24407628"/>
              <a:gd name="connsiteY7" fmla="*/ 13716002 h 13716002"/>
              <a:gd name="connsiteX8" fmla="*/ 59960 w 24407628"/>
              <a:gd name="connsiteY8" fmla="*/ 13686020 h 13716002"/>
              <a:gd name="connsiteX9" fmla="*/ 0 w 24407628"/>
              <a:gd name="connsiteY9" fmla="*/ 29980 h 13716002"/>
              <a:gd name="connsiteX0" fmla="*/ 6746301 w 24438936"/>
              <a:gd name="connsiteY0" fmla="*/ 1414189 h 13716002"/>
              <a:gd name="connsiteX1" fmla="*/ 1330491 w 24438936"/>
              <a:gd name="connsiteY1" fmla="*/ 6829999 h 13716002"/>
              <a:gd name="connsiteX2" fmla="*/ 6746301 w 24438936"/>
              <a:gd name="connsiteY2" fmla="*/ 12245809 h 13716002"/>
              <a:gd name="connsiteX3" fmla="*/ 12162110 w 24438936"/>
              <a:gd name="connsiteY3" fmla="*/ 6829999 h 13716002"/>
              <a:gd name="connsiteX4" fmla="*/ 6746301 w 24438936"/>
              <a:gd name="connsiteY4" fmla="*/ 1414189 h 13716002"/>
              <a:gd name="connsiteX5" fmla="*/ 31308 w 24438936"/>
              <a:gd name="connsiteY5" fmla="*/ 29980 h 13716002"/>
              <a:gd name="connsiteX6" fmla="*/ 24438936 w 24438936"/>
              <a:gd name="connsiteY6" fmla="*/ 0 h 13716002"/>
              <a:gd name="connsiteX7" fmla="*/ 24378976 w 24438936"/>
              <a:gd name="connsiteY7" fmla="*/ 13716002 h 13716002"/>
              <a:gd name="connsiteX8" fmla="*/ 1328 w 24438936"/>
              <a:gd name="connsiteY8" fmla="*/ 13686020 h 13716002"/>
              <a:gd name="connsiteX9" fmla="*/ 31308 w 24438936"/>
              <a:gd name="connsiteY9" fmla="*/ 29980 h 13716002"/>
              <a:gd name="connsiteX0" fmla="*/ 6746301 w 24498896"/>
              <a:gd name="connsiteY0" fmla="*/ 1414189 h 13716002"/>
              <a:gd name="connsiteX1" fmla="*/ 1330491 w 24498896"/>
              <a:gd name="connsiteY1" fmla="*/ 6829999 h 13716002"/>
              <a:gd name="connsiteX2" fmla="*/ 6746301 w 24498896"/>
              <a:gd name="connsiteY2" fmla="*/ 12245809 h 13716002"/>
              <a:gd name="connsiteX3" fmla="*/ 12162110 w 24498896"/>
              <a:gd name="connsiteY3" fmla="*/ 6829999 h 13716002"/>
              <a:gd name="connsiteX4" fmla="*/ 6746301 w 24498896"/>
              <a:gd name="connsiteY4" fmla="*/ 1414189 h 13716002"/>
              <a:gd name="connsiteX5" fmla="*/ 31308 w 24498896"/>
              <a:gd name="connsiteY5" fmla="*/ 29980 h 13716002"/>
              <a:gd name="connsiteX6" fmla="*/ 24438936 w 24498896"/>
              <a:gd name="connsiteY6" fmla="*/ 0 h 13716002"/>
              <a:gd name="connsiteX7" fmla="*/ 24498896 w 24498896"/>
              <a:gd name="connsiteY7" fmla="*/ 13716002 h 13716002"/>
              <a:gd name="connsiteX8" fmla="*/ 1328 w 24498896"/>
              <a:gd name="connsiteY8" fmla="*/ 13686020 h 13716002"/>
              <a:gd name="connsiteX9" fmla="*/ 31308 w 24498896"/>
              <a:gd name="connsiteY9" fmla="*/ 29980 h 13716002"/>
              <a:gd name="connsiteX0" fmla="*/ 6746301 w 24468916"/>
              <a:gd name="connsiteY0" fmla="*/ 1414189 h 13745982"/>
              <a:gd name="connsiteX1" fmla="*/ 1330491 w 24468916"/>
              <a:gd name="connsiteY1" fmla="*/ 6829999 h 13745982"/>
              <a:gd name="connsiteX2" fmla="*/ 6746301 w 24468916"/>
              <a:gd name="connsiteY2" fmla="*/ 12245809 h 13745982"/>
              <a:gd name="connsiteX3" fmla="*/ 12162110 w 24468916"/>
              <a:gd name="connsiteY3" fmla="*/ 6829999 h 13745982"/>
              <a:gd name="connsiteX4" fmla="*/ 6746301 w 24468916"/>
              <a:gd name="connsiteY4" fmla="*/ 1414189 h 13745982"/>
              <a:gd name="connsiteX5" fmla="*/ 31308 w 24468916"/>
              <a:gd name="connsiteY5" fmla="*/ 29980 h 13745982"/>
              <a:gd name="connsiteX6" fmla="*/ 24438936 w 24468916"/>
              <a:gd name="connsiteY6" fmla="*/ 0 h 13745982"/>
              <a:gd name="connsiteX7" fmla="*/ 24468916 w 24468916"/>
              <a:gd name="connsiteY7" fmla="*/ 13745982 h 13745982"/>
              <a:gd name="connsiteX8" fmla="*/ 1328 w 24468916"/>
              <a:gd name="connsiteY8" fmla="*/ 13686020 h 13745982"/>
              <a:gd name="connsiteX9" fmla="*/ 31308 w 24468916"/>
              <a:gd name="connsiteY9" fmla="*/ 29980 h 13745982"/>
              <a:gd name="connsiteX0" fmla="*/ 6746301 w 24529744"/>
              <a:gd name="connsiteY0" fmla="*/ 1444169 h 13775962"/>
              <a:gd name="connsiteX1" fmla="*/ 1330491 w 24529744"/>
              <a:gd name="connsiteY1" fmla="*/ 6859979 h 13775962"/>
              <a:gd name="connsiteX2" fmla="*/ 6746301 w 24529744"/>
              <a:gd name="connsiteY2" fmla="*/ 12275789 h 13775962"/>
              <a:gd name="connsiteX3" fmla="*/ 12162110 w 24529744"/>
              <a:gd name="connsiteY3" fmla="*/ 6859979 h 13775962"/>
              <a:gd name="connsiteX4" fmla="*/ 6746301 w 24529744"/>
              <a:gd name="connsiteY4" fmla="*/ 1444169 h 13775962"/>
              <a:gd name="connsiteX5" fmla="*/ 31308 w 24529744"/>
              <a:gd name="connsiteY5" fmla="*/ 59960 h 13775962"/>
              <a:gd name="connsiteX6" fmla="*/ 24528878 w 24529744"/>
              <a:gd name="connsiteY6" fmla="*/ 0 h 13775962"/>
              <a:gd name="connsiteX7" fmla="*/ 24468916 w 24529744"/>
              <a:gd name="connsiteY7" fmla="*/ 13775962 h 13775962"/>
              <a:gd name="connsiteX8" fmla="*/ 1328 w 24529744"/>
              <a:gd name="connsiteY8" fmla="*/ 13716000 h 13775962"/>
              <a:gd name="connsiteX9" fmla="*/ 31308 w 24529744"/>
              <a:gd name="connsiteY9" fmla="*/ 59960 h 13775962"/>
              <a:gd name="connsiteX0" fmla="*/ 6746301 w 24533094"/>
              <a:gd name="connsiteY0" fmla="*/ 1444169 h 13775962"/>
              <a:gd name="connsiteX1" fmla="*/ 1330491 w 24533094"/>
              <a:gd name="connsiteY1" fmla="*/ 6859979 h 13775962"/>
              <a:gd name="connsiteX2" fmla="*/ 6746301 w 24533094"/>
              <a:gd name="connsiteY2" fmla="*/ 12275789 h 13775962"/>
              <a:gd name="connsiteX3" fmla="*/ 12162110 w 24533094"/>
              <a:gd name="connsiteY3" fmla="*/ 6859979 h 13775962"/>
              <a:gd name="connsiteX4" fmla="*/ 6746301 w 24533094"/>
              <a:gd name="connsiteY4" fmla="*/ 1444169 h 13775962"/>
              <a:gd name="connsiteX5" fmla="*/ 31308 w 24533094"/>
              <a:gd name="connsiteY5" fmla="*/ 59960 h 13775962"/>
              <a:gd name="connsiteX6" fmla="*/ 24528878 w 24533094"/>
              <a:gd name="connsiteY6" fmla="*/ 0 h 13775962"/>
              <a:gd name="connsiteX7" fmla="*/ 24533094 w 24533094"/>
              <a:gd name="connsiteY7" fmla="*/ 13775962 h 13775962"/>
              <a:gd name="connsiteX8" fmla="*/ 1328 w 24533094"/>
              <a:gd name="connsiteY8" fmla="*/ 13716000 h 13775962"/>
              <a:gd name="connsiteX9" fmla="*/ 31308 w 24533094"/>
              <a:gd name="connsiteY9" fmla="*/ 59960 h 13775962"/>
              <a:gd name="connsiteX0" fmla="*/ 6746301 w 24533094"/>
              <a:gd name="connsiteY0" fmla="*/ 1444169 h 13779830"/>
              <a:gd name="connsiteX1" fmla="*/ 1330491 w 24533094"/>
              <a:gd name="connsiteY1" fmla="*/ 6859979 h 13779830"/>
              <a:gd name="connsiteX2" fmla="*/ 6746301 w 24533094"/>
              <a:gd name="connsiteY2" fmla="*/ 12275789 h 13779830"/>
              <a:gd name="connsiteX3" fmla="*/ 12162110 w 24533094"/>
              <a:gd name="connsiteY3" fmla="*/ 6859979 h 13779830"/>
              <a:gd name="connsiteX4" fmla="*/ 6746301 w 24533094"/>
              <a:gd name="connsiteY4" fmla="*/ 1444169 h 13779830"/>
              <a:gd name="connsiteX5" fmla="*/ 31308 w 24533094"/>
              <a:gd name="connsiteY5" fmla="*/ 59960 h 13779830"/>
              <a:gd name="connsiteX6" fmla="*/ 24528878 w 24533094"/>
              <a:gd name="connsiteY6" fmla="*/ 0 h 13779830"/>
              <a:gd name="connsiteX7" fmla="*/ 24533094 w 24533094"/>
              <a:gd name="connsiteY7" fmla="*/ 13775962 h 13779830"/>
              <a:gd name="connsiteX8" fmla="*/ 1328 w 24533094"/>
              <a:gd name="connsiteY8" fmla="*/ 13779830 h 13779830"/>
              <a:gd name="connsiteX9" fmla="*/ 31308 w 24533094"/>
              <a:gd name="connsiteY9" fmla="*/ 59960 h 13779830"/>
              <a:gd name="connsiteX0" fmla="*/ 6757777 w 24544570"/>
              <a:gd name="connsiteY0" fmla="*/ 1444169 h 13779830"/>
              <a:gd name="connsiteX1" fmla="*/ 1341967 w 24544570"/>
              <a:gd name="connsiteY1" fmla="*/ 6859979 h 13779830"/>
              <a:gd name="connsiteX2" fmla="*/ 6757777 w 24544570"/>
              <a:gd name="connsiteY2" fmla="*/ 12275789 h 13779830"/>
              <a:gd name="connsiteX3" fmla="*/ 12173586 w 24544570"/>
              <a:gd name="connsiteY3" fmla="*/ 6859979 h 13779830"/>
              <a:gd name="connsiteX4" fmla="*/ 6757777 w 24544570"/>
              <a:gd name="connsiteY4" fmla="*/ 1444169 h 13779830"/>
              <a:gd name="connsiteX5" fmla="*/ 0 w 24544570"/>
              <a:gd name="connsiteY5" fmla="*/ 17405 h 13779830"/>
              <a:gd name="connsiteX6" fmla="*/ 24540354 w 24544570"/>
              <a:gd name="connsiteY6" fmla="*/ 0 h 13779830"/>
              <a:gd name="connsiteX7" fmla="*/ 24544570 w 24544570"/>
              <a:gd name="connsiteY7" fmla="*/ 13775962 h 13779830"/>
              <a:gd name="connsiteX8" fmla="*/ 12804 w 24544570"/>
              <a:gd name="connsiteY8" fmla="*/ 13779830 h 13779830"/>
              <a:gd name="connsiteX9" fmla="*/ 0 w 24544570"/>
              <a:gd name="connsiteY9" fmla="*/ 17405 h 13779830"/>
              <a:gd name="connsiteX0" fmla="*/ 6745727 w 24532520"/>
              <a:gd name="connsiteY0" fmla="*/ 1444169 h 13779830"/>
              <a:gd name="connsiteX1" fmla="*/ 1329917 w 24532520"/>
              <a:gd name="connsiteY1" fmla="*/ 6859979 h 13779830"/>
              <a:gd name="connsiteX2" fmla="*/ 6745727 w 24532520"/>
              <a:gd name="connsiteY2" fmla="*/ 12275789 h 13779830"/>
              <a:gd name="connsiteX3" fmla="*/ 12161536 w 24532520"/>
              <a:gd name="connsiteY3" fmla="*/ 6859979 h 13779830"/>
              <a:gd name="connsiteX4" fmla="*/ 6745727 w 24532520"/>
              <a:gd name="connsiteY4" fmla="*/ 1444169 h 13779830"/>
              <a:gd name="connsiteX5" fmla="*/ 73518 w 24532520"/>
              <a:gd name="connsiteY5" fmla="*/ 17405 h 13779830"/>
              <a:gd name="connsiteX6" fmla="*/ 24528304 w 24532520"/>
              <a:gd name="connsiteY6" fmla="*/ 0 h 13779830"/>
              <a:gd name="connsiteX7" fmla="*/ 24532520 w 24532520"/>
              <a:gd name="connsiteY7" fmla="*/ 13775962 h 13779830"/>
              <a:gd name="connsiteX8" fmla="*/ 754 w 24532520"/>
              <a:gd name="connsiteY8" fmla="*/ 13779830 h 13779830"/>
              <a:gd name="connsiteX9" fmla="*/ 73518 w 24532520"/>
              <a:gd name="connsiteY9" fmla="*/ 17405 h 13779830"/>
              <a:gd name="connsiteX0" fmla="*/ 6747127 w 24533920"/>
              <a:gd name="connsiteY0" fmla="*/ 1444169 h 13779830"/>
              <a:gd name="connsiteX1" fmla="*/ 1331317 w 24533920"/>
              <a:gd name="connsiteY1" fmla="*/ 6859979 h 13779830"/>
              <a:gd name="connsiteX2" fmla="*/ 6747127 w 24533920"/>
              <a:gd name="connsiteY2" fmla="*/ 12275789 h 13779830"/>
              <a:gd name="connsiteX3" fmla="*/ 12162936 w 24533920"/>
              <a:gd name="connsiteY3" fmla="*/ 6859979 h 13779830"/>
              <a:gd name="connsiteX4" fmla="*/ 6747127 w 24533920"/>
              <a:gd name="connsiteY4" fmla="*/ 1444169 h 13779830"/>
              <a:gd name="connsiteX5" fmla="*/ 10744 w 24533920"/>
              <a:gd name="connsiteY5" fmla="*/ 38680 h 13779830"/>
              <a:gd name="connsiteX6" fmla="*/ 24529704 w 24533920"/>
              <a:gd name="connsiteY6" fmla="*/ 0 h 13779830"/>
              <a:gd name="connsiteX7" fmla="*/ 24533920 w 24533920"/>
              <a:gd name="connsiteY7" fmla="*/ 13775962 h 13779830"/>
              <a:gd name="connsiteX8" fmla="*/ 2154 w 24533920"/>
              <a:gd name="connsiteY8" fmla="*/ 13779830 h 13779830"/>
              <a:gd name="connsiteX9" fmla="*/ 10744 w 24533920"/>
              <a:gd name="connsiteY9" fmla="*/ 38680 h 13779830"/>
              <a:gd name="connsiteX0" fmla="*/ 6971697 w 24758490"/>
              <a:gd name="connsiteY0" fmla="*/ 1444169 h 13779830"/>
              <a:gd name="connsiteX1" fmla="*/ 1555887 w 24758490"/>
              <a:gd name="connsiteY1" fmla="*/ 6859979 h 13779830"/>
              <a:gd name="connsiteX2" fmla="*/ 6971697 w 24758490"/>
              <a:gd name="connsiteY2" fmla="*/ 12275789 h 13779830"/>
              <a:gd name="connsiteX3" fmla="*/ 12387506 w 24758490"/>
              <a:gd name="connsiteY3" fmla="*/ 6859979 h 13779830"/>
              <a:gd name="connsiteX4" fmla="*/ 6971697 w 24758490"/>
              <a:gd name="connsiteY4" fmla="*/ 1444169 h 13779830"/>
              <a:gd name="connsiteX5" fmla="*/ 0 w 24758490"/>
              <a:gd name="connsiteY5" fmla="*/ 59958 h 13779830"/>
              <a:gd name="connsiteX6" fmla="*/ 24754274 w 24758490"/>
              <a:gd name="connsiteY6" fmla="*/ 0 h 13779830"/>
              <a:gd name="connsiteX7" fmla="*/ 24758490 w 24758490"/>
              <a:gd name="connsiteY7" fmla="*/ 13775962 h 13779830"/>
              <a:gd name="connsiteX8" fmla="*/ 226724 w 24758490"/>
              <a:gd name="connsiteY8" fmla="*/ 13779830 h 13779830"/>
              <a:gd name="connsiteX9" fmla="*/ 0 w 24758490"/>
              <a:gd name="connsiteY9" fmla="*/ 59958 h 13779830"/>
              <a:gd name="connsiteX0" fmla="*/ 6746302 w 24533095"/>
              <a:gd name="connsiteY0" fmla="*/ 1444169 h 13779830"/>
              <a:gd name="connsiteX1" fmla="*/ 1330492 w 24533095"/>
              <a:gd name="connsiteY1" fmla="*/ 6859979 h 13779830"/>
              <a:gd name="connsiteX2" fmla="*/ 6746302 w 24533095"/>
              <a:gd name="connsiteY2" fmla="*/ 12275789 h 13779830"/>
              <a:gd name="connsiteX3" fmla="*/ 12162111 w 24533095"/>
              <a:gd name="connsiteY3" fmla="*/ 6859979 h 13779830"/>
              <a:gd name="connsiteX4" fmla="*/ 6746302 w 24533095"/>
              <a:gd name="connsiteY4" fmla="*/ 1444169 h 13779830"/>
              <a:gd name="connsiteX5" fmla="*/ 31312 w 24533095"/>
              <a:gd name="connsiteY5" fmla="*/ 17405 h 13779830"/>
              <a:gd name="connsiteX6" fmla="*/ 24528879 w 24533095"/>
              <a:gd name="connsiteY6" fmla="*/ 0 h 13779830"/>
              <a:gd name="connsiteX7" fmla="*/ 24533095 w 24533095"/>
              <a:gd name="connsiteY7" fmla="*/ 13775962 h 13779830"/>
              <a:gd name="connsiteX8" fmla="*/ 1329 w 24533095"/>
              <a:gd name="connsiteY8" fmla="*/ 13779830 h 13779830"/>
              <a:gd name="connsiteX9" fmla="*/ 31312 w 24533095"/>
              <a:gd name="connsiteY9" fmla="*/ 17405 h 13779830"/>
              <a:gd name="connsiteX0" fmla="*/ 6838287 w 24625080"/>
              <a:gd name="connsiteY0" fmla="*/ 1444169 h 13779830"/>
              <a:gd name="connsiteX1" fmla="*/ 1422477 w 24625080"/>
              <a:gd name="connsiteY1" fmla="*/ 6859979 h 13779830"/>
              <a:gd name="connsiteX2" fmla="*/ 6838287 w 24625080"/>
              <a:gd name="connsiteY2" fmla="*/ 12275789 h 13779830"/>
              <a:gd name="connsiteX3" fmla="*/ 12254096 w 24625080"/>
              <a:gd name="connsiteY3" fmla="*/ 6859979 h 13779830"/>
              <a:gd name="connsiteX4" fmla="*/ 6838287 w 24625080"/>
              <a:gd name="connsiteY4" fmla="*/ 1444169 h 13779830"/>
              <a:gd name="connsiteX5" fmla="*/ 0 w 24625080"/>
              <a:gd name="connsiteY5" fmla="*/ 91486 h 13779830"/>
              <a:gd name="connsiteX6" fmla="*/ 24620864 w 24625080"/>
              <a:gd name="connsiteY6" fmla="*/ 0 h 13779830"/>
              <a:gd name="connsiteX7" fmla="*/ 24625080 w 24625080"/>
              <a:gd name="connsiteY7" fmla="*/ 13775962 h 13779830"/>
              <a:gd name="connsiteX8" fmla="*/ 93314 w 24625080"/>
              <a:gd name="connsiteY8" fmla="*/ 13779830 h 13779830"/>
              <a:gd name="connsiteX9" fmla="*/ 0 w 24625080"/>
              <a:gd name="connsiteY9" fmla="*/ 91486 h 13779830"/>
              <a:gd name="connsiteX0" fmla="*/ 6747642 w 24534435"/>
              <a:gd name="connsiteY0" fmla="*/ 1444169 h 13779830"/>
              <a:gd name="connsiteX1" fmla="*/ 1331832 w 24534435"/>
              <a:gd name="connsiteY1" fmla="*/ 6859979 h 13779830"/>
              <a:gd name="connsiteX2" fmla="*/ 6747642 w 24534435"/>
              <a:gd name="connsiteY2" fmla="*/ 12275789 h 13779830"/>
              <a:gd name="connsiteX3" fmla="*/ 12163451 w 24534435"/>
              <a:gd name="connsiteY3" fmla="*/ 6859979 h 13779830"/>
              <a:gd name="connsiteX4" fmla="*/ 6747642 w 24534435"/>
              <a:gd name="connsiteY4" fmla="*/ 1444169 h 13779830"/>
              <a:gd name="connsiteX5" fmla="*/ 4693 w 24534435"/>
              <a:gd name="connsiteY5" fmla="*/ 117604 h 13779830"/>
              <a:gd name="connsiteX6" fmla="*/ 24530219 w 24534435"/>
              <a:gd name="connsiteY6" fmla="*/ 0 h 13779830"/>
              <a:gd name="connsiteX7" fmla="*/ 24534435 w 24534435"/>
              <a:gd name="connsiteY7" fmla="*/ 13775962 h 13779830"/>
              <a:gd name="connsiteX8" fmla="*/ 2669 w 24534435"/>
              <a:gd name="connsiteY8" fmla="*/ 13779830 h 13779830"/>
              <a:gd name="connsiteX9" fmla="*/ 4693 w 24534435"/>
              <a:gd name="connsiteY9" fmla="*/ 117604 h 13779830"/>
              <a:gd name="connsiteX0" fmla="*/ 6745620 w 24532413"/>
              <a:gd name="connsiteY0" fmla="*/ 1444169 h 13779830"/>
              <a:gd name="connsiteX1" fmla="*/ 1329810 w 24532413"/>
              <a:gd name="connsiteY1" fmla="*/ 6859979 h 13779830"/>
              <a:gd name="connsiteX2" fmla="*/ 6745620 w 24532413"/>
              <a:gd name="connsiteY2" fmla="*/ 12275789 h 13779830"/>
              <a:gd name="connsiteX3" fmla="*/ 12161429 w 24532413"/>
              <a:gd name="connsiteY3" fmla="*/ 6859979 h 13779830"/>
              <a:gd name="connsiteX4" fmla="*/ 6745620 w 24532413"/>
              <a:gd name="connsiteY4" fmla="*/ 1444169 h 13779830"/>
              <a:gd name="connsiteX5" fmla="*/ 89963 w 24532413"/>
              <a:gd name="connsiteY5" fmla="*/ 91486 h 13779830"/>
              <a:gd name="connsiteX6" fmla="*/ 24528197 w 24532413"/>
              <a:gd name="connsiteY6" fmla="*/ 0 h 13779830"/>
              <a:gd name="connsiteX7" fmla="*/ 24532413 w 24532413"/>
              <a:gd name="connsiteY7" fmla="*/ 13775962 h 13779830"/>
              <a:gd name="connsiteX8" fmla="*/ 647 w 24532413"/>
              <a:gd name="connsiteY8" fmla="*/ 13779830 h 13779830"/>
              <a:gd name="connsiteX9" fmla="*/ 89963 w 24532413"/>
              <a:gd name="connsiteY9" fmla="*/ 91486 h 13779830"/>
              <a:gd name="connsiteX0" fmla="*/ 6837605 w 24624398"/>
              <a:gd name="connsiteY0" fmla="*/ 1444169 h 13779830"/>
              <a:gd name="connsiteX1" fmla="*/ 1421795 w 24624398"/>
              <a:gd name="connsiteY1" fmla="*/ 6859979 h 13779830"/>
              <a:gd name="connsiteX2" fmla="*/ 6837605 w 24624398"/>
              <a:gd name="connsiteY2" fmla="*/ 12275789 h 13779830"/>
              <a:gd name="connsiteX3" fmla="*/ 12253414 w 24624398"/>
              <a:gd name="connsiteY3" fmla="*/ 6859979 h 13779830"/>
              <a:gd name="connsiteX4" fmla="*/ 6837605 w 24624398"/>
              <a:gd name="connsiteY4" fmla="*/ 1444169 h 13779830"/>
              <a:gd name="connsiteX5" fmla="*/ 0 w 24624398"/>
              <a:gd name="connsiteY5" fmla="*/ 91486 h 13779830"/>
              <a:gd name="connsiteX6" fmla="*/ 24620182 w 24624398"/>
              <a:gd name="connsiteY6" fmla="*/ 0 h 13779830"/>
              <a:gd name="connsiteX7" fmla="*/ 24624398 w 24624398"/>
              <a:gd name="connsiteY7" fmla="*/ 13775962 h 13779830"/>
              <a:gd name="connsiteX8" fmla="*/ 92632 w 24624398"/>
              <a:gd name="connsiteY8" fmla="*/ 13779830 h 13779830"/>
              <a:gd name="connsiteX9" fmla="*/ 0 w 24624398"/>
              <a:gd name="connsiteY9" fmla="*/ 91486 h 13779830"/>
              <a:gd name="connsiteX0" fmla="*/ 6747934 w 24534727"/>
              <a:gd name="connsiteY0" fmla="*/ 1444169 h 13779830"/>
              <a:gd name="connsiteX1" fmla="*/ 1332124 w 24534727"/>
              <a:gd name="connsiteY1" fmla="*/ 6859979 h 13779830"/>
              <a:gd name="connsiteX2" fmla="*/ 6747934 w 24534727"/>
              <a:gd name="connsiteY2" fmla="*/ 12275789 h 13779830"/>
              <a:gd name="connsiteX3" fmla="*/ 12163743 w 24534727"/>
              <a:gd name="connsiteY3" fmla="*/ 6859979 h 13779830"/>
              <a:gd name="connsiteX4" fmla="*/ 6747934 w 24534727"/>
              <a:gd name="connsiteY4" fmla="*/ 1444169 h 13779830"/>
              <a:gd name="connsiteX5" fmla="*/ 2314 w 24534727"/>
              <a:gd name="connsiteY5" fmla="*/ 91486 h 13779830"/>
              <a:gd name="connsiteX6" fmla="*/ 24530511 w 24534727"/>
              <a:gd name="connsiteY6" fmla="*/ 0 h 13779830"/>
              <a:gd name="connsiteX7" fmla="*/ 24534727 w 24534727"/>
              <a:gd name="connsiteY7" fmla="*/ 13775962 h 13779830"/>
              <a:gd name="connsiteX8" fmla="*/ 2961 w 24534727"/>
              <a:gd name="connsiteY8" fmla="*/ 13779830 h 13779830"/>
              <a:gd name="connsiteX9" fmla="*/ 2314 w 24534727"/>
              <a:gd name="connsiteY9" fmla="*/ 91486 h 13779830"/>
              <a:gd name="connsiteX0" fmla="*/ 6745001 w 24531794"/>
              <a:gd name="connsiteY0" fmla="*/ 1444169 h 13779830"/>
              <a:gd name="connsiteX1" fmla="*/ 1329191 w 24531794"/>
              <a:gd name="connsiteY1" fmla="*/ 6859979 h 13779830"/>
              <a:gd name="connsiteX2" fmla="*/ 6745001 w 24531794"/>
              <a:gd name="connsiteY2" fmla="*/ 12275789 h 13779830"/>
              <a:gd name="connsiteX3" fmla="*/ 12160810 w 24531794"/>
              <a:gd name="connsiteY3" fmla="*/ 6859979 h 13779830"/>
              <a:gd name="connsiteX4" fmla="*/ 6745001 w 24531794"/>
              <a:gd name="connsiteY4" fmla="*/ 1444169 h 13779830"/>
              <a:gd name="connsiteX5" fmla="*/ 2700322 w 24531794"/>
              <a:gd name="connsiteY5" fmla="*/ 91486 h 13779830"/>
              <a:gd name="connsiteX6" fmla="*/ 24527578 w 24531794"/>
              <a:gd name="connsiteY6" fmla="*/ 0 h 13779830"/>
              <a:gd name="connsiteX7" fmla="*/ 24531794 w 24531794"/>
              <a:gd name="connsiteY7" fmla="*/ 13775962 h 13779830"/>
              <a:gd name="connsiteX8" fmla="*/ 28 w 24531794"/>
              <a:gd name="connsiteY8" fmla="*/ 13779830 h 13779830"/>
              <a:gd name="connsiteX9" fmla="*/ 2700322 w 24531794"/>
              <a:gd name="connsiteY9" fmla="*/ 91486 h 13779830"/>
              <a:gd name="connsiteX0" fmla="*/ 6745079 w 24531872"/>
              <a:gd name="connsiteY0" fmla="*/ 1444169 h 13779830"/>
              <a:gd name="connsiteX1" fmla="*/ 1329269 w 24531872"/>
              <a:gd name="connsiteY1" fmla="*/ 6859979 h 13779830"/>
              <a:gd name="connsiteX2" fmla="*/ 6745079 w 24531872"/>
              <a:gd name="connsiteY2" fmla="*/ 12275789 h 13779830"/>
              <a:gd name="connsiteX3" fmla="*/ 12160888 w 24531872"/>
              <a:gd name="connsiteY3" fmla="*/ 6859979 h 13779830"/>
              <a:gd name="connsiteX4" fmla="*/ 6745079 w 24531872"/>
              <a:gd name="connsiteY4" fmla="*/ 1444169 h 13779830"/>
              <a:gd name="connsiteX5" fmla="*/ 676696 w 24531872"/>
              <a:gd name="connsiteY5" fmla="*/ 91486 h 13779830"/>
              <a:gd name="connsiteX6" fmla="*/ 24527656 w 24531872"/>
              <a:gd name="connsiteY6" fmla="*/ 0 h 13779830"/>
              <a:gd name="connsiteX7" fmla="*/ 24531872 w 24531872"/>
              <a:gd name="connsiteY7" fmla="*/ 13775962 h 13779830"/>
              <a:gd name="connsiteX8" fmla="*/ 106 w 24531872"/>
              <a:gd name="connsiteY8" fmla="*/ 13779830 h 13779830"/>
              <a:gd name="connsiteX9" fmla="*/ 676696 w 24531872"/>
              <a:gd name="connsiteY9" fmla="*/ 91486 h 13779830"/>
              <a:gd name="connsiteX0" fmla="*/ 6837064 w 24623857"/>
              <a:gd name="connsiteY0" fmla="*/ 1444169 h 13779830"/>
              <a:gd name="connsiteX1" fmla="*/ 1421254 w 24623857"/>
              <a:gd name="connsiteY1" fmla="*/ 6859979 h 13779830"/>
              <a:gd name="connsiteX2" fmla="*/ 6837064 w 24623857"/>
              <a:gd name="connsiteY2" fmla="*/ 12275789 h 13779830"/>
              <a:gd name="connsiteX3" fmla="*/ 12252873 w 24623857"/>
              <a:gd name="connsiteY3" fmla="*/ 6859979 h 13779830"/>
              <a:gd name="connsiteX4" fmla="*/ 6837064 w 24623857"/>
              <a:gd name="connsiteY4" fmla="*/ 1444169 h 13779830"/>
              <a:gd name="connsiteX5" fmla="*/ 0 w 24623857"/>
              <a:gd name="connsiteY5" fmla="*/ 91486 h 13779830"/>
              <a:gd name="connsiteX6" fmla="*/ 24619641 w 24623857"/>
              <a:gd name="connsiteY6" fmla="*/ 0 h 13779830"/>
              <a:gd name="connsiteX7" fmla="*/ 24623857 w 24623857"/>
              <a:gd name="connsiteY7" fmla="*/ 13775962 h 13779830"/>
              <a:gd name="connsiteX8" fmla="*/ 92091 w 24623857"/>
              <a:gd name="connsiteY8" fmla="*/ 13779830 h 13779830"/>
              <a:gd name="connsiteX9" fmla="*/ 0 w 24623857"/>
              <a:gd name="connsiteY9" fmla="*/ 91486 h 13779830"/>
              <a:gd name="connsiteX0" fmla="*/ 6837064 w 24623857"/>
              <a:gd name="connsiteY0" fmla="*/ 1444169 h 13779830"/>
              <a:gd name="connsiteX1" fmla="*/ 1421254 w 24623857"/>
              <a:gd name="connsiteY1" fmla="*/ 6859979 h 13779830"/>
              <a:gd name="connsiteX2" fmla="*/ 6837064 w 24623857"/>
              <a:gd name="connsiteY2" fmla="*/ 12275789 h 13779830"/>
              <a:gd name="connsiteX3" fmla="*/ 12252873 w 24623857"/>
              <a:gd name="connsiteY3" fmla="*/ 6859979 h 13779830"/>
              <a:gd name="connsiteX4" fmla="*/ 6837064 w 24623857"/>
              <a:gd name="connsiteY4" fmla="*/ 1444169 h 13779830"/>
              <a:gd name="connsiteX5" fmla="*/ 0 w 24623857"/>
              <a:gd name="connsiteY5" fmla="*/ 30494 h 13779830"/>
              <a:gd name="connsiteX6" fmla="*/ 24619641 w 24623857"/>
              <a:gd name="connsiteY6" fmla="*/ 0 h 13779830"/>
              <a:gd name="connsiteX7" fmla="*/ 24623857 w 24623857"/>
              <a:gd name="connsiteY7" fmla="*/ 13775962 h 13779830"/>
              <a:gd name="connsiteX8" fmla="*/ 92091 w 24623857"/>
              <a:gd name="connsiteY8" fmla="*/ 13779830 h 13779830"/>
              <a:gd name="connsiteX9" fmla="*/ 0 w 24623857"/>
              <a:gd name="connsiteY9" fmla="*/ 30494 h 13779830"/>
              <a:gd name="connsiteX0" fmla="*/ 6755298 w 24542091"/>
              <a:gd name="connsiteY0" fmla="*/ 1444169 h 13779830"/>
              <a:gd name="connsiteX1" fmla="*/ 1339488 w 24542091"/>
              <a:gd name="connsiteY1" fmla="*/ 6859979 h 13779830"/>
              <a:gd name="connsiteX2" fmla="*/ 6755298 w 24542091"/>
              <a:gd name="connsiteY2" fmla="*/ 12275789 h 13779830"/>
              <a:gd name="connsiteX3" fmla="*/ 12171107 w 24542091"/>
              <a:gd name="connsiteY3" fmla="*/ 6859979 h 13779830"/>
              <a:gd name="connsiteX4" fmla="*/ 6755298 w 24542091"/>
              <a:gd name="connsiteY4" fmla="*/ 1444169 h 13779830"/>
              <a:gd name="connsiteX5" fmla="*/ 0 w 24542091"/>
              <a:gd name="connsiteY5" fmla="*/ 50825 h 13779830"/>
              <a:gd name="connsiteX6" fmla="*/ 24537875 w 24542091"/>
              <a:gd name="connsiteY6" fmla="*/ 0 h 13779830"/>
              <a:gd name="connsiteX7" fmla="*/ 24542091 w 24542091"/>
              <a:gd name="connsiteY7" fmla="*/ 13775962 h 13779830"/>
              <a:gd name="connsiteX8" fmla="*/ 10325 w 24542091"/>
              <a:gd name="connsiteY8" fmla="*/ 13779830 h 13779830"/>
              <a:gd name="connsiteX9" fmla="*/ 0 w 24542091"/>
              <a:gd name="connsiteY9" fmla="*/ 50825 h 13779830"/>
              <a:gd name="connsiteX0" fmla="*/ 6746288 w 24533081"/>
              <a:gd name="connsiteY0" fmla="*/ 1444169 h 13779830"/>
              <a:gd name="connsiteX1" fmla="*/ 1330478 w 24533081"/>
              <a:gd name="connsiteY1" fmla="*/ 6859979 h 13779830"/>
              <a:gd name="connsiteX2" fmla="*/ 6746288 w 24533081"/>
              <a:gd name="connsiteY2" fmla="*/ 12275789 h 13779830"/>
              <a:gd name="connsiteX3" fmla="*/ 12162097 w 24533081"/>
              <a:gd name="connsiteY3" fmla="*/ 6859979 h 13779830"/>
              <a:gd name="connsiteX4" fmla="*/ 6746288 w 24533081"/>
              <a:gd name="connsiteY4" fmla="*/ 1444169 h 13779830"/>
              <a:gd name="connsiteX5" fmla="*/ 31873 w 24533081"/>
              <a:gd name="connsiteY5" fmla="*/ 50825 h 13779830"/>
              <a:gd name="connsiteX6" fmla="*/ 24528865 w 24533081"/>
              <a:gd name="connsiteY6" fmla="*/ 0 h 13779830"/>
              <a:gd name="connsiteX7" fmla="*/ 24533081 w 24533081"/>
              <a:gd name="connsiteY7" fmla="*/ 13775962 h 13779830"/>
              <a:gd name="connsiteX8" fmla="*/ 1315 w 24533081"/>
              <a:gd name="connsiteY8" fmla="*/ 13779830 h 13779830"/>
              <a:gd name="connsiteX9" fmla="*/ 31873 w 24533081"/>
              <a:gd name="connsiteY9" fmla="*/ 50825 h 13779830"/>
              <a:gd name="connsiteX0" fmla="*/ 6746288 w 24533081"/>
              <a:gd name="connsiteY0" fmla="*/ 1444169 h 13779830"/>
              <a:gd name="connsiteX1" fmla="*/ 1330478 w 24533081"/>
              <a:gd name="connsiteY1" fmla="*/ 6859979 h 13779830"/>
              <a:gd name="connsiteX2" fmla="*/ 6746288 w 24533081"/>
              <a:gd name="connsiteY2" fmla="*/ 12275789 h 13779830"/>
              <a:gd name="connsiteX3" fmla="*/ 12162097 w 24533081"/>
              <a:gd name="connsiteY3" fmla="*/ 6859979 h 13779830"/>
              <a:gd name="connsiteX4" fmla="*/ 6746288 w 24533081"/>
              <a:gd name="connsiteY4" fmla="*/ 1444169 h 13779830"/>
              <a:gd name="connsiteX5" fmla="*/ 31873 w 24533081"/>
              <a:gd name="connsiteY5" fmla="*/ 10163 h 13779830"/>
              <a:gd name="connsiteX6" fmla="*/ 24528865 w 24533081"/>
              <a:gd name="connsiteY6" fmla="*/ 0 h 13779830"/>
              <a:gd name="connsiteX7" fmla="*/ 24533081 w 24533081"/>
              <a:gd name="connsiteY7" fmla="*/ 13775962 h 13779830"/>
              <a:gd name="connsiteX8" fmla="*/ 1315 w 24533081"/>
              <a:gd name="connsiteY8" fmla="*/ 13779830 h 13779830"/>
              <a:gd name="connsiteX9" fmla="*/ 31873 w 24533081"/>
              <a:gd name="connsiteY9" fmla="*/ 10163 h 13779830"/>
              <a:gd name="connsiteX0" fmla="*/ 6746288 w 24533081"/>
              <a:gd name="connsiteY0" fmla="*/ 1494998 h 13830659"/>
              <a:gd name="connsiteX1" fmla="*/ 1330478 w 24533081"/>
              <a:gd name="connsiteY1" fmla="*/ 6910808 h 13830659"/>
              <a:gd name="connsiteX2" fmla="*/ 6746288 w 24533081"/>
              <a:gd name="connsiteY2" fmla="*/ 12326618 h 13830659"/>
              <a:gd name="connsiteX3" fmla="*/ 12162097 w 24533081"/>
              <a:gd name="connsiteY3" fmla="*/ 6910808 h 13830659"/>
              <a:gd name="connsiteX4" fmla="*/ 6746288 w 24533081"/>
              <a:gd name="connsiteY4" fmla="*/ 1494998 h 13830659"/>
              <a:gd name="connsiteX5" fmla="*/ 31873 w 24533081"/>
              <a:gd name="connsiteY5" fmla="*/ 0 h 13830659"/>
              <a:gd name="connsiteX6" fmla="*/ 24528865 w 24533081"/>
              <a:gd name="connsiteY6" fmla="*/ 50829 h 13830659"/>
              <a:gd name="connsiteX7" fmla="*/ 24533081 w 24533081"/>
              <a:gd name="connsiteY7" fmla="*/ 13826791 h 13830659"/>
              <a:gd name="connsiteX8" fmla="*/ 1315 w 24533081"/>
              <a:gd name="connsiteY8" fmla="*/ 13830659 h 13830659"/>
              <a:gd name="connsiteX9" fmla="*/ 31873 w 24533081"/>
              <a:gd name="connsiteY9" fmla="*/ 0 h 13830659"/>
              <a:gd name="connsiteX0" fmla="*/ 6746288 w 24533081"/>
              <a:gd name="connsiteY0" fmla="*/ 1444169 h 13779830"/>
              <a:gd name="connsiteX1" fmla="*/ 1330478 w 24533081"/>
              <a:gd name="connsiteY1" fmla="*/ 6859979 h 13779830"/>
              <a:gd name="connsiteX2" fmla="*/ 6746288 w 24533081"/>
              <a:gd name="connsiteY2" fmla="*/ 12275789 h 13779830"/>
              <a:gd name="connsiteX3" fmla="*/ 12162097 w 24533081"/>
              <a:gd name="connsiteY3" fmla="*/ 6859979 h 13779830"/>
              <a:gd name="connsiteX4" fmla="*/ 6746288 w 24533081"/>
              <a:gd name="connsiteY4" fmla="*/ 1444169 h 13779830"/>
              <a:gd name="connsiteX5" fmla="*/ 31873 w 24533081"/>
              <a:gd name="connsiteY5" fmla="*/ 10163 h 13779830"/>
              <a:gd name="connsiteX6" fmla="*/ 24528865 w 24533081"/>
              <a:gd name="connsiteY6" fmla="*/ 0 h 13779830"/>
              <a:gd name="connsiteX7" fmla="*/ 24533081 w 24533081"/>
              <a:gd name="connsiteY7" fmla="*/ 13775962 h 13779830"/>
              <a:gd name="connsiteX8" fmla="*/ 1315 w 24533081"/>
              <a:gd name="connsiteY8" fmla="*/ 13779830 h 13779830"/>
              <a:gd name="connsiteX9" fmla="*/ 31873 w 24533081"/>
              <a:gd name="connsiteY9" fmla="*/ 10163 h 13779830"/>
              <a:gd name="connsiteX0" fmla="*/ 6775739 w 24562532"/>
              <a:gd name="connsiteY0" fmla="*/ 1444169 h 13779830"/>
              <a:gd name="connsiteX1" fmla="*/ 1359929 w 24562532"/>
              <a:gd name="connsiteY1" fmla="*/ 6859979 h 13779830"/>
              <a:gd name="connsiteX2" fmla="*/ 6775739 w 24562532"/>
              <a:gd name="connsiteY2" fmla="*/ 12275789 h 13779830"/>
              <a:gd name="connsiteX3" fmla="*/ 12191548 w 24562532"/>
              <a:gd name="connsiteY3" fmla="*/ 6859979 h 13779830"/>
              <a:gd name="connsiteX4" fmla="*/ 6775739 w 24562532"/>
              <a:gd name="connsiteY4" fmla="*/ 1444169 h 13779830"/>
              <a:gd name="connsiteX5" fmla="*/ 0 w 24562532"/>
              <a:gd name="connsiteY5" fmla="*/ 50825 h 13779830"/>
              <a:gd name="connsiteX6" fmla="*/ 24558316 w 24562532"/>
              <a:gd name="connsiteY6" fmla="*/ 0 h 13779830"/>
              <a:gd name="connsiteX7" fmla="*/ 24562532 w 24562532"/>
              <a:gd name="connsiteY7" fmla="*/ 13775962 h 13779830"/>
              <a:gd name="connsiteX8" fmla="*/ 30766 w 24562532"/>
              <a:gd name="connsiteY8" fmla="*/ 13779830 h 13779830"/>
              <a:gd name="connsiteX9" fmla="*/ 0 w 24562532"/>
              <a:gd name="connsiteY9" fmla="*/ 50825 h 13779830"/>
              <a:gd name="connsiteX0" fmla="*/ 6775739 w 24562532"/>
              <a:gd name="connsiteY0" fmla="*/ 1444169 h 13779830"/>
              <a:gd name="connsiteX1" fmla="*/ 1359929 w 24562532"/>
              <a:gd name="connsiteY1" fmla="*/ 6859979 h 13779830"/>
              <a:gd name="connsiteX2" fmla="*/ 6775739 w 24562532"/>
              <a:gd name="connsiteY2" fmla="*/ 12275789 h 13779830"/>
              <a:gd name="connsiteX3" fmla="*/ 12191548 w 24562532"/>
              <a:gd name="connsiteY3" fmla="*/ 6859979 h 13779830"/>
              <a:gd name="connsiteX4" fmla="*/ 6775739 w 24562532"/>
              <a:gd name="connsiteY4" fmla="*/ 1444169 h 13779830"/>
              <a:gd name="connsiteX5" fmla="*/ 0 w 24562532"/>
              <a:gd name="connsiteY5" fmla="*/ 30032 h 13779830"/>
              <a:gd name="connsiteX6" fmla="*/ 24558316 w 24562532"/>
              <a:gd name="connsiteY6" fmla="*/ 0 h 13779830"/>
              <a:gd name="connsiteX7" fmla="*/ 24562532 w 24562532"/>
              <a:gd name="connsiteY7" fmla="*/ 13775962 h 13779830"/>
              <a:gd name="connsiteX8" fmla="*/ 30766 w 24562532"/>
              <a:gd name="connsiteY8" fmla="*/ 13779830 h 13779830"/>
              <a:gd name="connsiteX9" fmla="*/ 0 w 24562532"/>
              <a:gd name="connsiteY9" fmla="*/ 30032 h 13779830"/>
              <a:gd name="connsiteX0" fmla="*/ 6788795 w 24575588"/>
              <a:gd name="connsiteY0" fmla="*/ 1444169 h 13779830"/>
              <a:gd name="connsiteX1" fmla="*/ 1372985 w 24575588"/>
              <a:gd name="connsiteY1" fmla="*/ 6859979 h 13779830"/>
              <a:gd name="connsiteX2" fmla="*/ 6788795 w 24575588"/>
              <a:gd name="connsiteY2" fmla="*/ 12275789 h 13779830"/>
              <a:gd name="connsiteX3" fmla="*/ 12204604 w 24575588"/>
              <a:gd name="connsiteY3" fmla="*/ 6859979 h 13779830"/>
              <a:gd name="connsiteX4" fmla="*/ 6788795 w 24575588"/>
              <a:gd name="connsiteY4" fmla="*/ 1444169 h 13779830"/>
              <a:gd name="connsiteX5" fmla="*/ 13056 w 24575588"/>
              <a:gd name="connsiteY5" fmla="*/ 30032 h 13779830"/>
              <a:gd name="connsiteX6" fmla="*/ 24571372 w 24575588"/>
              <a:gd name="connsiteY6" fmla="*/ 0 h 13779830"/>
              <a:gd name="connsiteX7" fmla="*/ 24575588 w 24575588"/>
              <a:gd name="connsiteY7" fmla="*/ 13775962 h 13779830"/>
              <a:gd name="connsiteX8" fmla="*/ 2010 w 24575588"/>
              <a:gd name="connsiteY8" fmla="*/ 13779830 h 13779830"/>
              <a:gd name="connsiteX9" fmla="*/ 13056 w 24575588"/>
              <a:gd name="connsiteY9" fmla="*/ 30032 h 1377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575588" h="13779830">
                <a:moveTo>
                  <a:pt x="6788795" y="1444169"/>
                </a:moveTo>
                <a:cubicBezTo>
                  <a:pt x="3797725" y="1444169"/>
                  <a:pt x="1372985" y="3868911"/>
                  <a:pt x="1372985" y="6859979"/>
                </a:cubicBezTo>
                <a:cubicBezTo>
                  <a:pt x="1372985" y="9851048"/>
                  <a:pt x="3797725" y="12275789"/>
                  <a:pt x="6788795" y="12275789"/>
                </a:cubicBezTo>
                <a:cubicBezTo>
                  <a:pt x="9779864" y="12275789"/>
                  <a:pt x="12204604" y="9851048"/>
                  <a:pt x="12204604" y="6859979"/>
                </a:cubicBezTo>
                <a:cubicBezTo>
                  <a:pt x="12204604" y="3868911"/>
                  <a:pt x="9779864" y="1444169"/>
                  <a:pt x="6788795" y="1444169"/>
                </a:cubicBezTo>
                <a:close/>
                <a:moveTo>
                  <a:pt x="13056" y="30032"/>
                </a:moveTo>
                <a:lnTo>
                  <a:pt x="24571372" y="0"/>
                </a:lnTo>
                <a:cubicBezTo>
                  <a:pt x="24581365" y="4581994"/>
                  <a:pt x="24565595" y="9193968"/>
                  <a:pt x="24575588" y="13775962"/>
                </a:cubicBezTo>
                <a:lnTo>
                  <a:pt x="2010" y="13779830"/>
                </a:lnTo>
                <a:cubicBezTo>
                  <a:pt x="-7983" y="9267791"/>
                  <a:pt x="23049" y="4542071"/>
                  <a:pt x="13056" y="30032"/>
                </a:cubicBezTo>
                <a:close/>
              </a:path>
            </a:pathLst>
          </a:custGeom>
          <a:gradFill>
            <a:gsLst>
              <a:gs pos="0">
                <a:srgbClr val="50ABA0">
                  <a:alpha val="86000"/>
                </a:srgbClr>
              </a:gs>
              <a:gs pos="100000">
                <a:schemeClr val="tx2"/>
              </a:gs>
            </a:gsLst>
            <a:lin ang="13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2" name="Title 1">
            <a:extLst>
              <a:ext uri="{FF2B5EF4-FFF2-40B4-BE49-F238E27FC236}">
                <a16:creationId xmlns:a16="http://schemas.microsoft.com/office/drawing/2014/main" id="{6FAB911A-6232-7245-AE43-412EBC6F2DDD}"/>
              </a:ext>
            </a:extLst>
          </p:cNvPr>
          <p:cNvSpPr>
            <a:spLocks noGrp="1"/>
          </p:cNvSpPr>
          <p:nvPr>
            <p:ph type="ctrTitle"/>
          </p:nvPr>
        </p:nvSpPr>
        <p:spPr>
          <a:xfrm>
            <a:off x="7180297" y="2508057"/>
            <a:ext cx="4167057" cy="724999"/>
          </a:xfrm>
        </p:spPr>
        <p:txBody>
          <a:bodyPr>
            <a:normAutofit fontScale="90000"/>
          </a:bodyPr>
          <a:lstStyle/>
          <a:p>
            <a:r>
              <a:rPr lang="en-US" dirty="0"/>
              <a:t>Memphis, TN</a:t>
            </a:r>
          </a:p>
        </p:txBody>
      </p:sp>
      <p:sp>
        <p:nvSpPr>
          <p:cNvPr id="3" name="Subtitle 2">
            <a:extLst>
              <a:ext uri="{FF2B5EF4-FFF2-40B4-BE49-F238E27FC236}">
                <a16:creationId xmlns:a16="http://schemas.microsoft.com/office/drawing/2014/main" id="{ACB6EF98-77DF-414B-984B-6E768A06B553}"/>
              </a:ext>
            </a:extLst>
          </p:cNvPr>
          <p:cNvSpPr>
            <a:spLocks noGrp="1"/>
          </p:cNvSpPr>
          <p:nvPr>
            <p:ph type="subTitle" idx="1"/>
          </p:nvPr>
        </p:nvSpPr>
        <p:spPr/>
        <p:txBody>
          <a:bodyPr>
            <a:normAutofit lnSpcReduction="10000"/>
          </a:bodyPr>
          <a:lstStyle/>
          <a:p>
            <a:endParaRPr lang="en-US" dirty="0"/>
          </a:p>
        </p:txBody>
      </p:sp>
      <p:sp>
        <p:nvSpPr>
          <p:cNvPr id="42" name="Oval 41"/>
          <p:cNvSpPr/>
          <p:nvPr/>
        </p:nvSpPr>
        <p:spPr>
          <a:xfrm>
            <a:off x="386354" y="469746"/>
            <a:ext cx="5895774" cy="5895774"/>
          </a:xfrm>
          <a:prstGeom prst="ellipse">
            <a:avLst/>
          </a:prstGeom>
          <a:noFill/>
          <a:ln>
            <a:solidFill>
              <a:srgbClr val="9ACFC8">
                <a:alpha val="46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73" name="Oval 72"/>
          <p:cNvSpPr/>
          <p:nvPr/>
        </p:nvSpPr>
        <p:spPr>
          <a:xfrm>
            <a:off x="201944" y="276454"/>
            <a:ext cx="6305091" cy="6305091"/>
          </a:xfrm>
          <a:prstGeom prst="ellipse">
            <a:avLst/>
          </a:prstGeom>
          <a:noFill/>
          <a:ln>
            <a:solidFill>
              <a:srgbClr val="9ACFC8">
                <a:alpha val="2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pic>
        <p:nvPicPr>
          <p:cNvPr id="29" name="Logo">
            <a:extLst>
              <a:ext uri="{FF2B5EF4-FFF2-40B4-BE49-F238E27FC236}">
                <a16:creationId xmlns:a16="http://schemas.microsoft.com/office/drawing/2014/main" id="{5AF8161C-C5D6-3E4D-A766-8C960D7B615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549565" y="209082"/>
            <a:ext cx="1259664" cy="1259664"/>
          </a:xfrm>
          <a:prstGeom prst="rect">
            <a:avLst/>
          </a:prstGeom>
        </p:spPr>
      </p:pic>
      <p:sp>
        <p:nvSpPr>
          <p:cNvPr id="11" name="TextBox 10">
            <a:extLst>
              <a:ext uri="{FF2B5EF4-FFF2-40B4-BE49-F238E27FC236}">
                <a16:creationId xmlns:a16="http://schemas.microsoft.com/office/drawing/2014/main" id="{47AF4F4B-6B36-454B-BB7B-3B7B55A15359}"/>
              </a:ext>
            </a:extLst>
          </p:cNvPr>
          <p:cNvSpPr txBox="1"/>
          <p:nvPr/>
        </p:nvSpPr>
        <p:spPr>
          <a:xfrm>
            <a:off x="-2934853" y="7824245"/>
            <a:ext cx="16180967" cy="230832"/>
          </a:xfrm>
          <a:prstGeom prst="rect">
            <a:avLst/>
          </a:prstGeom>
          <a:noFill/>
        </p:spPr>
        <p:txBody>
          <a:bodyPr wrap="square" rtlCol="0">
            <a:spAutoFit/>
          </a:bodyPr>
          <a:lstStyle/>
          <a:p>
            <a:r>
              <a:rPr lang="en-US" sz="900">
                <a:hlinkClick r:id="rId4" tooltip="http://www.chaoticcompendiums.com/2013/01/book-review-fever-season-epidemic-of.html"/>
              </a:rPr>
              <a:t>This Photo</a:t>
            </a:r>
            <a:r>
              <a:rPr lang="en-US" sz="900"/>
              <a:t> by Unknown Author is licensed under </a:t>
            </a:r>
            <a:r>
              <a:rPr lang="en-US" sz="900">
                <a:hlinkClick r:id="rId6" tooltip="https://creativecommons.org/licenses/by-nc-nd/3.0/"/>
              </a:rPr>
              <a:t>CC BY-NC-ND</a:t>
            </a:r>
            <a:endParaRPr lang="en-US" sz="900"/>
          </a:p>
        </p:txBody>
      </p:sp>
      <p:sp>
        <p:nvSpPr>
          <p:cNvPr id="6" name="Text Placeholder 5">
            <a:extLst>
              <a:ext uri="{FF2B5EF4-FFF2-40B4-BE49-F238E27FC236}">
                <a16:creationId xmlns:a16="http://schemas.microsoft.com/office/drawing/2014/main" id="{B50DC295-4D68-6E97-9E6F-AEA463E24597}"/>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5996897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3" name="Rectangle 3"/>
          <p:cNvSpPr>
            <a:spLocks noGrp="1" noChangeArrowheads="1"/>
          </p:cNvSpPr>
          <p:nvPr>
            <p:ph type="title"/>
          </p:nvPr>
        </p:nvSpPr>
        <p:spPr bwMode="auto">
          <a:xfrm>
            <a:off x="576000" y="429118"/>
            <a:ext cx="10415849" cy="453586"/>
          </a:xfrm>
          <a:noFill/>
          <a:ln>
            <a:miter lim="800000"/>
            <a:headEnd/>
            <a:tailEnd/>
          </a:ln>
        </p:spPr>
        <p:txBody>
          <a:bodyPr vert="horz" wrap="square" lIns="91440" tIns="45720" rIns="91440" bIns="45720" numCol="1" rtlCol="0" anchor="ctr" anchorCtr="0" compatLnSpc="1">
            <a:prstTxWarp prst="textNoShape">
              <a:avLst/>
            </a:prstTxWarp>
            <a:spAutoFit/>
          </a:bodyPr>
          <a:lstStyle/>
          <a:p>
            <a:r>
              <a:rPr lang="en-US" dirty="0"/>
              <a:t>Memphis KPIs improving</a:t>
            </a:r>
            <a:endParaRPr lang="en-US" b="0" dirty="0"/>
          </a:p>
        </p:txBody>
      </p:sp>
      <p:sp>
        <p:nvSpPr>
          <p:cNvPr id="4" name="Text Placeholder 1">
            <a:extLst>
              <a:ext uri="{FF2B5EF4-FFF2-40B4-BE49-F238E27FC236}">
                <a16:creationId xmlns:a16="http://schemas.microsoft.com/office/drawing/2014/main" id="{989F7209-F958-49EF-897C-86E3A6FD4A1E}"/>
              </a:ext>
            </a:extLst>
          </p:cNvPr>
          <p:cNvSpPr>
            <a:spLocks noGrp="1"/>
          </p:cNvSpPr>
          <p:nvPr>
            <p:ph type="body" sz="quarter" idx="13"/>
          </p:nvPr>
        </p:nvSpPr>
        <p:spPr>
          <a:xfrm>
            <a:off x="583813" y="815079"/>
            <a:ext cx="10187250" cy="400110"/>
          </a:xfrm>
        </p:spPr>
        <p:txBody>
          <a:bodyPr anchor="ctr">
            <a:spAutoFit/>
          </a:bodyPr>
          <a:lstStyle/>
          <a:p>
            <a:pPr>
              <a:lnSpc>
                <a:spcPct val="100000"/>
              </a:lnSpc>
              <a:spcBef>
                <a:spcPts val="0"/>
              </a:spcBef>
            </a:pPr>
            <a:r>
              <a:rPr lang="en-US" dirty="0"/>
              <a:t>Memphis Market, 12-month moving total</a:t>
            </a:r>
          </a:p>
        </p:txBody>
      </p:sp>
      <p:graphicFrame>
        <p:nvGraphicFramePr>
          <p:cNvPr id="8" name="Chart 7">
            <a:extLst>
              <a:ext uri="{FF2B5EF4-FFF2-40B4-BE49-F238E27FC236}">
                <a16:creationId xmlns:a16="http://schemas.microsoft.com/office/drawing/2014/main" id="{B771AB29-59FA-ED44-9FB4-38BC967FDE83}"/>
              </a:ext>
            </a:extLst>
          </p:cNvPr>
          <p:cNvGraphicFramePr>
            <a:graphicFrameLocks noGrp="1"/>
          </p:cNvGraphicFramePr>
          <p:nvPr/>
        </p:nvGraphicFramePr>
        <p:xfrm>
          <a:off x="571500" y="1630363"/>
          <a:ext cx="11277600" cy="457993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87175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graphicEl>
                                              <a:chart seriesIdx="-3" categoryIdx="-3" bldStep="gridLegen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graphicEl>
                                              <a:chart seriesIdx="0" categoryIdx="-4" bldStep="series"/>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graphicEl>
                                              <a:chart seriesIdx="2" categoryIdx="-4" bldStep="series"/>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graphicEl>
                                              <a:chart seriesIdx="2" categoryIdx="-4" bldStep="series"/>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Chart bld="series"/>
        </p:bldSub>
      </p:bldGraphic>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0E1866-1D5F-46E2-910C-631917A5D6D5}"/>
              </a:ext>
            </a:extLst>
          </p:cNvPr>
          <p:cNvSpPr>
            <a:spLocks noGrp="1"/>
          </p:cNvSpPr>
          <p:nvPr>
            <p:ph type="title"/>
          </p:nvPr>
        </p:nvSpPr>
        <p:spPr>
          <a:xfrm>
            <a:off x="581025" y="425579"/>
            <a:ext cx="9783850" cy="446789"/>
          </a:xfrm>
        </p:spPr>
        <p:txBody>
          <a:bodyPr>
            <a:spAutoFit/>
          </a:bodyPr>
          <a:lstStyle/>
          <a:p>
            <a:r>
              <a:rPr lang="en-US" dirty="0">
                <a:latin typeface="Calibri" panose="020F0502020204030204" pitchFamily="34" charset="0"/>
                <a:cs typeface="Calibri" panose="020F0502020204030204" pitchFamily="34" charset="0"/>
              </a:rPr>
              <a:t>Memphis room demand above 2019</a:t>
            </a:r>
          </a:p>
        </p:txBody>
      </p:sp>
      <p:sp>
        <p:nvSpPr>
          <p:cNvPr id="6" name="TextBox 5">
            <a:extLst>
              <a:ext uri="{FF2B5EF4-FFF2-40B4-BE49-F238E27FC236}">
                <a16:creationId xmlns:a16="http://schemas.microsoft.com/office/drawing/2014/main" id="{95F7A3E6-4AE5-43FF-996B-4741FAAC9AAD}"/>
              </a:ext>
            </a:extLst>
          </p:cNvPr>
          <p:cNvSpPr txBox="1"/>
          <p:nvPr/>
        </p:nvSpPr>
        <p:spPr>
          <a:xfrm>
            <a:off x="271608" y="6455125"/>
            <a:ext cx="4033692" cy="276999"/>
          </a:xfrm>
          <a:prstGeom prst="rect">
            <a:avLst/>
          </a:prstGeom>
          <a:noFill/>
        </p:spPr>
        <p:txBody>
          <a:bodyPr wrap="square" rtlCol="0">
            <a:spAutoFit/>
          </a:bodyPr>
          <a:lstStyle>
            <a:defPPr>
              <a:defRPr lang="en-US"/>
            </a:defPPr>
            <a:lvl1pPr>
              <a:defRPr sz="1200">
                <a:solidFill>
                  <a:schemeClr val="bg1"/>
                </a:solidFill>
                <a:latin typeface="Calibri" panose="020F0502020204030204" pitchFamily="34" charset="0"/>
                <a:cs typeface="Calibri" panose="020F0502020204030204" pitchFamily="34" charset="0"/>
              </a:defRPr>
            </a:lvl1pPr>
          </a:lstStyle>
          <a:p>
            <a:r>
              <a:rPr lang="en-US" dirty="0"/>
              <a:t>Oxford Economics</a:t>
            </a:r>
          </a:p>
        </p:txBody>
      </p:sp>
      <p:graphicFrame>
        <p:nvGraphicFramePr>
          <p:cNvPr id="8" name="Content Placeholder 5">
            <a:extLst>
              <a:ext uri="{FF2B5EF4-FFF2-40B4-BE49-F238E27FC236}">
                <a16:creationId xmlns:a16="http://schemas.microsoft.com/office/drawing/2014/main" id="{F89844EE-964D-4B60-93D2-000A61A1F541}"/>
              </a:ext>
            </a:extLst>
          </p:cNvPr>
          <p:cNvGraphicFramePr>
            <a:graphicFrameLocks/>
          </p:cNvGraphicFramePr>
          <p:nvPr>
            <p:extLst>
              <p:ext uri="{D42A27DB-BD31-4B8C-83A1-F6EECF244321}">
                <p14:modId xmlns:p14="http://schemas.microsoft.com/office/powerpoint/2010/main" val="3390306935"/>
              </p:ext>
            </p:extLst>
          </p:nvPr>
        </p:nvGraphicFramePr>
        <p:xfrm>
          <a:off x="574155" y="1638300"/>
          <a:ext cx="3616845" cy="457199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Object 2">
            <a:extLst>
              <a:ext uri="{FF2B5EF4-FFF2-40B4-BE49-F238E27FC236}">
                <a16:creationId xmlns:a16="http://schemas.microsoft.com/office/drawing/2014/main" id="{36131EF0-0360-4FC0-B841-1F5C41BA589A}"/>
              </a:ext>
            </a:extLst>
          </p:cNvPr>
          <p:cNvGraphicFramePr>
            <a:graphicFrameLocks/>
          </p:cNvGraphicFramePr>
          <p:nvPr>
            <p:extLst>
              <p:ext uri="{D42A27DB-BD31-4B8C-83A1-F6EECF244321}">
                <p14:modId xmlns:p14="http://schemas.microsoft.com/office/powerpoint/2010/main" val="2525955020"/>
              </p:ext>
            </p:extLst>
          </p:nvPr>
        </p:nvGraphicFramePr>
        <p:xfrm>
          <a:off x="4305300" y="1638300"/>
          <a:ext cx="7541368" cy="4565552"/>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 Placeholder 1">
            <a:extLst>
              <a:ext uri="{FF2B5EF4-FFF2-40B4-BE49-F238E27FC236}">
                <a16:creationId xmlns:a16="http://schemas.microsoft.com/office/drawing/2014/main" id="{EFB9BA91-081E-0B4A-4BA6-E96965D59630}"/>
              </a:ext>
            </a:extLst>
          </p:cNvPr>
          <p:cNvSpPr>
            <a:spLocks noGrp="1"/>
          </p:cNvSpPr>
          <p:nvPr>
            <p:ph type="body" sz="quarter" idx="13"/>
          </p:nvPr>
        </p:nvSpPr>
        <p:spPr>
          <a:xfrm>
            <a:off x="583813" y="815079"/>
            <a:ext cx="10187250" cy="400110"/>
          </a:xfrm>
        </p:spPr>
        <p:txBody>
          <a:bodyPr anchor="ctr">
            <a:spAutoFit/>
          </a:bodyPr>
          <a:lstStyle/>
          <a:p>
            <a:pPr>
              <a:lnSpc>
                <a:spcPct val="100000"/>
              </a:lnSpc>
              <a:spcBef>
                <a:spcPts val="0"/>
              </a:spcBef>
            </a:pPr>
            <a:r>
              <a:rPr lang="en-US" dirty="0"/>
              <a:t>July YTD Room demand indexed to 2019</a:t>
            </a:r>
          </a:p>
        </p:txBody>
      </p:sp>
    </p:spTree>
    <p:extLst>
      <p:ext uri="{BB962C8B-B14F-4D97-AF65-F5344CB8AC3E}">
        <p14:creationId xmlns:p14="http://schemas.microsoft.com/office/powerpoint/2010/main" val="750784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Placeholder 7">
            <a:extLst>
              <a:ext uri="{FF2B5EF4-FFF2-40B4-BE49-F238E27FC236}">
                <a16:creationId xmlns:a16="http://schemas.microsoft.com/office/drawing/2014/main" id="{5977D3C0-5FAE-4086-B6E3-9410B561A25B}"/>
              </a:ext>
            </a:extLst>
          </p:cNvPr>
          <p:cNvGraphicFramePr>
            <a:graphicFrameLocks noGrp="1"/>
          </p:cNvGraphicFramePr>
          <p:nvPr>
            <p:ph type="chart" idx="1"/>
            <p:extLst>
              <p:ext uri="{D42A27DB-BD31-4B8C-83A1-F6EECF244321}">
                <p14:modId xmlns:p14="http://schemas.microsoft.com/office/powerpoint/2010/main" val="1072865099"/>
              </p:ext>
            </p:extLst>
          </p:nvPr>
        </p:nvGraphicFramePr>
        <p:xfrm>
          <a:off x="587375" y="1600200"/>
          <a:ext cx="10972800" cy="4616450"/>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a:extLst>
              <a:ext uri="{FF2B5EF4-FFF2-40B4-BE49-F238E27FC236}">
                <a16:creationId xmlns:a16="http://schemas.microsoft.com/office/drawing/2014/main" id="{2DAC3DEB-DC19-4EE2-9A33-A8B80DE7E831}"/>
              </a:ext>
            </a:extLst>
          </p:cNvPr>
          <p:cNvSpPr>
            <a:spLocks noGrp="1"/>
          </p:cNvSpPr>
          <p:nvPr>
            <p:ph type="title"/>
          </p:nvPr>
        </p:nvSpPr>
        <p:spPr>
          <a:xfrm>
            <a:off x="576001" y="432023"/>
            <a:ext cx="9783850" cy="446789"/>
          </a:xfrm>
        </p:spPr>
        <p:txBody>
          <a:bodyPr>
            <a:spAutoFit/>
          </a:bodyPr>
          <a:lstStyle/>
          <a:p>
            <a:r>
              <a:rPr lang="en-US" dirty="0"/>
              <a:t>Strong summer so far</a:t>
            </a:r>
          </a:p>
        </p:txBody>
      </p:sp>
      <p:sp>
        <p:nvSpPr>
          <p:cNvPr id="7" name="Text Placeholder 1">
            <a:extLst>
              <a:ext uri="{FF2B5EF4-FFF2-40B4-BE49-F238E27FC236}">
                <a16:creationId xmlns:a16="http://schemas.microsoft.com/office/drawing/2014/main" id="{FEC98628-DB54-418E-A46D-ACE13E318537}"/>
              </a:ext>
            </a:extLst>
          </p:cNvPr>
          <p:cNvSpPr>
            <a:spLocks noGrp="1"/>
          </p:cNvSpPr>
          <p:nvPr>
            <p:ph type="body" sz="quarter" idx="13"/>
          </p:nvPr>
        </p:nvSpPr>
        <p:spPr>
          <a:xfrm>
            <a:off x="576000" y="848167"/>
            <a:ext cx="10187250" cy="400110"/>
          </a:xfrm>
        </p:spPr>
        <p:txBody>
          <a:bodyPr anchor="ctr">
            <a:spAutoFit/>
          </a:bodyPr>
          <a:lstStyle/>
          <a:p>
            <a:pPr>
              <a:lnSpc>
                <a:spcPct val="100000"/>
              </a:lnSpc>
              <a:spcBef>
                <a:spcPts val="0"/>
              </a:spcBef>
            </a:pPr>
            <a:r>
              <a:rPr lang="en-US" dirty="0"/>
              <a:t>Memphis demand, weeks 23 to 33</a:t>
            </a:r>
          </a:p>
        </p:txBody>
      </p:sp>
    </p:spTree>
    <p:extLst>
      <p:ext uri="{BB962C8B-B14F-4D97-AF65-F5344CB8AC3E}">
        <p14:creationId xmlns:p14="http://schemas.microsoft.com/office/powerpoint/2010/main" val="181799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0E1866-1D5F-46E2-910C-631917A5D6D5}"/>
              </a:ext>
            </a:extLst>
          </p:cNvPr>
          <p:cNvSpPr>
            <a:spLocks noGrp="1"/>
          </p:cNvSpPr>
          <p:nvPr>
            <p:ph type="title"/>
          </p:nvPr>
        </p:nvSpPr>
        <p:spPr>
          <a:xfrm>
            <a:off x="581025" y="425579"/>
            <a:ext cx="9783850" cy="446789"/>
          </a:xfrm>
        </p:spPr>
        <p:txBody>
          <a:bodyPr>
            <a:spAutoFit/>
          </a:bodyPr>
          <a:lstStyle/>
          <a:p>
            <a:r>
              <a:rPr lang="en-US" dirty="0">
                <a:latin typeface="Calibri" panose="020F0502020204030204" pitchFamily="34" charset="0"/>
                <a:cs typeface="Calibri" panose="020F0502020204030204" pitchFamily="34" charset="0"/>
              </a:rPr>
              <a:t>Occupancy increasing</a:t>
            </a:r>
          </a:p>
        </p:txBody>
      </p:sp>
      <p:sp>
        <p:nvSpPr>
          <p:cNvPr id="6" name="TextBox 5">
            <a:extLst>
              <a:ext uri="{FF2B5EF4-FFF2-40B4-BE49-F238E27FC236}">
                <a16:creationId xmlns:a16="http://schemas.microsoft.com/office/drawing/2014/main" id="{95F7A3E6-4AE5-43FF-996B-4741FAAC9AAD}"/>
              </a:ext>
            </a:extLst>
          </p:cNvPr>
          <p:cNvSpPr txBox="1"/>
          <p:nvPr/>
        </p:nvSpPr>
        <p:spPr>
          <a:xfrm>
            <a:off x="271608" y="6455125"/>
            <a:ext cx="4033692" cy="276999"/>
          </a:xfrm>
          <a:prstGeom prst="rect">
            <a:avLst/>
          </a:prstGeom>
          <a:noFill/>
        </p:spPr>
        <p:txBody>
          <a:bodyPr wrap="square" rtlCol="0">
            <a:spAutoFit/>
          </a:bodyPr>
          <a:lstStyle>
            <a:defPPr>
              <a:defRPr lang="en-US"/>
            </a:defPPr>
            <a:lvl1pPr>
              <a:defRPr sz="1200">
                <a:solidFill>
                  <a:schemeClr val="bg1"/>
                </a:solidFill>
                <a:latin typeface="Calibri" panose="020F0502020204030204" pitchFamily="34" charset="0"/>
                <a:cs typeface="Calibri" panose="020F0502020204030204" pitchFamily="34" charset="0"/>
              </a:defRPr>
            </a:lvl1pPr>
          </a:lstStyle>
          <a:p>
            <a:r>
              <a:rPr lang="en-US" dirty="0"/>
              <a:t>Oxford Economics</a:t>
            </a:r>
          </a:p>
        </p:txBody>
      </p:sp>
      <p:graphicFrame>
        <p:nvGraphicFramePr>
          <p:cNvPr id="8" name="Content Placeholder 5">
            <a:extLst>
              <a:ext uri="{FF2B5EF4-FFF2-40B4-BE49-F238E27FC236}">
                <a16:creationId xmlns:a16="http://schemas.microsoft.com/office/drawing/2014/main" id="{F89844EE-964D-4B60-93D2-000A61A1F541}"/>
              </a:ext>
            </a:extLst>
          </p:cNvPr>
          <p:cNvGraphicFramePr>
            <a:graphicFrameLocks/>
          </p:cNvGraphicFramePr>
          <p:nvPr>
            <p:extLst>
              <p:ext uri="{D42A27DB-BD31-4B8C-83A1-F6EECF244321}">
                <p14:modId xmlns:p14="http://schemas.microsoft.com/office/powerpoint/2010/main" val="2083516383"/>
              </p:ext>
            </p:extLst>
          </p:nvPr>
        </p:nvGraphicFramePr>
        <p:xfrm>
          <a:off x="574155" y="1638300"/>
          <a:ext cx="3616845" cy="457199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Object 2">
            <a:extLst>
              <a:ext uri="{FF2B5EF4-FFF2-40B4-BE49-F238E27FC236}">
                <a16:creationId xmlns:a16="http://schemas.microsoft.com/office/drawing/2014/main" id="{1020AD55-EB64-123A-9677-13484B3019E6}"/>
              </a:ext>
            </a:extLst>
          </p:cNvPr>
          <p:cNvGraphicFramePr>
            <a:graphicFrameLocks/>
          </p:cNvGraphicFramePr>
          <p:nvPr>
            <p:extLst>
              <p:ext uri="{D42A27DB-BD31-4B8C-83A1-F6EECF244321}">
                <p14:modId xmlns:p14="http://schemas.microsoft.com/office/powerpoint/2010/main" val="1913609549"/>
              </p:ext>
            </p:extLst>
          </p:nvPr>
        </p:nvGraphicFramePr>
        <p:xfrm>
          <a:off x="4305300" y="1638300"/>
          <a:ext cx="7541368" cy="4565552"/>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 Placeholder 3">
            <a:extLst>
              <a:ext uri="{FF2B5EF4-FFF2-40B4-BE49-F238E27FC236}">
                <a16:creationId xmlns:a16="http://schemas.microsoft.com/office/drawing/2014/main" id="{EBFE2284-5C7B-2308-C49F-392059408923}"/>
              </a:ext>
            </a:extLst>
          </p:cNvPr>
          <p:cNvSpPr txBox="1">
            <a:spLocks/>
          </p:cNvSpPr>
          <p:nvPr/>
        </p:nvSpPr>
        <p:spPr>
          <a:xfrm>
            <a:off x="576000" y="913471"/>
            <a:ext cx="9783851" cy="303340"/>
          </a:xfrm>
          <a:prstGeom prst="rect">
            <a:avLst/>
          </a:prstGeom>
        </p:spPr>
        <p:txBody>
          <a:bodyPr vert="horz" lIns="91440" tIns="45720" rIns="91440" bIns="45720" rtlCol="0" anchor="ctr">
            <a:noAutofit/>
          </a:bodyPr>
          <a:lstStyle>
            <a:lvl1pPr marL="0" indent="0" algn="l" defTabSz="1219170" rtl="0" eaLnBrk="1" latinLnBrk="0" hangingPunct="1">
              <a:lnSpc>
                <a:spcPts val="2667"/>
              </a:lnSpc>
              <a:spcBef>
                <a:spcPct val="20000"/>
              </a:spcBef>
              <a:buFont typeface="Arial" panose="020B0604020202020204" pitchFamily="34" charset="0"/>
              <a:buNone/>
              <a:defRPr sz="2000" kern="1200">
                <a:solidFill>
                  <a:schemeClr val="tx1"/>
                </a:solidFill>
                <a:latin typeface="+mn-lt"/>
                <a:ea typeface="+mn-ea"/>
                <a:cs typeface="Arial" pitchFamily="34" charset="0"/>
              </a:defRPr>
            </a:lvl1pPr>
            <a:lvl2pPr marL="990575" indent="-380990" algn="l" defTabSz="1219170" rtl="0" eaLnBrk="1" latinLnBrk="0" hangingPunct="1">
              <a:spcBef>
                <a:spcPct val="20000"/>
              </a:spcBef>
              <a:buFont typeface="Arial" panose="020B0604020202020204" pitchFamily="34" charset="0"/>
              <a:buChar char="–"/>
              <a:defRPr sz="1400" b="0" kern="1200">
                <a:solidFill>
                  <a:schemeClr val="tx1"/>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1400" b="0" kern="1200">
                <a:solidFill>
                  <a:schemeClr val="tx1"/>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133"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en-GB" dirty="0"/>
              <a:t>July YTD occupancy</a:t>
            </a:r>
          </a:p>
        </p:txBody>
      </p:sp>
    </p:spTree>
    <p:extLst>
      <p:ext uri="{BB962C8B-B14F-4D97-AF65-F5344CB8AC3E}">
        <p14:creationId xmlns:p14="http://schemas.microsoft.com/office/powerpoint/2010/main" val="1856227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0E1866-1D5F-46E2-910C-631917A5D6D5}"/>
              </a:ext>
            </a:extLst>
          </p:cNvPr>
          <p:cNvSpPr>
            <a:spLocks noGrp="1"/>
          </p:cNvSpPr>
          <p:nvPr>
            <p:ph type="title"/>
          </p:nvPr>
        </p:nvSpPr>
        <p:spPr>
          <a:xfrm>
            <a:off x="581025" y="425579"/>
            <a:ext cx="9783850" cy="446789"/>
          </a:xfrm>
        </p:spPr>
        <p:txBody>
          <a:bodyPr>
            <a:spAutoFit/>
          </a:bodyPr>
          <a:lstStyle/>
          <a:p>
            <a:r>
              <a:rPr lang="en-US" dirty="0">
                <a:latin typeface="Calibri" panose="020F0502020204030204" pitchFamily="34" charset="0"/>
                <a:cs typeface="Calibri" panose="020F0502020204030204" pitchFamily="34" charset="0"/>
              </a:rPr>
              <a:t>ADR growing strongly</a:t>
            </a:r>
          </a:p>
        </p:txBody>
      </p:sp>
      <p:sp>
        <p:nvSpPr>
          <p:cNvPr id="6" name="TextBox 5">
            <a:extLst>
              <a:ext uri="{FF2B5EF4-FFF2-40B4-BE49-F238E27FC236}">
                <a16:creationId xmlns:a16="http://schemas.microsoft.com/office/drawing/2014/main" id="{95F7A3E6-4AE5-43FF-996B-4741FAAC9AAD}"/>
              </a:ext>
            </a:extLst>
          </p:cNvPr>
          <p:cNvSpPr txBox="1"/>
          <p:nvPr/>
        </p:nvSpPr>
        <p:spPr>
          <a:xfrm>
            <a:off x="271608" y="6455125"/>
            <a:ext cx="4033692" cy="276999"/>
          </a:xfrm>
          <a:prstGeom prst="rect">
            <a:avLst/>
          </a:prstGeom>
          <a:noFill/>
        </p:spPr>
        <p:txBody>
          <a:bodyPr wrap="square" rtlCol="0">
            <a:spAutoFit/>
          </a:bodyPr>
          <a:lstStyle>
            <a:defPPr>
              <a:defRPr lang="en-US"/>
            </a:defPPr>
            <a:lvl1pPr>
              <a:defRPr sz="1200">
                <a:solidFill>
                  <a:schemeClr val="bg1"/>
                </a:solidFill>
                <a:latin typeface="Calibri" panose="020F0502020204030204" pitchFamily="34" charset="0"/>
                <a:cs typeface="Calibri" panose="020F0502020204030204" pitchFamily="34" charset="0"/>
              </a:defRPr>
            </a:lvl1pPr>
          </a:lstStyle>
          <a:p>
            <a:r>
              <a:rPr lang="en-US" dirty="0"/>
              <a:t>Oxford Economics</a:t>
            </a:r>
          </a:p>
        </p:txBody>
      </p:sp>
      <p:graphicFrame>
        <p:nvGraphicFramePr>
          <p:cNvPr id="8" name="Content Placeholder 5">
            <a:extLst>
              <a:ext uri="{FF2B5EF4-FFF2-40B4-BE49-F238E27FC236}">
                <a16:creationId xmlns:a16="http://schemas.microsoft.com/office/drawing/2014/main" id="{F89844EE-964D-4B60-93D2-000A61A1F541}"/>
              </a:ext>
            </a:extLst>
          </p:cNvPr>
          <p:cNvGraphicFramePr>
            <a:graphicFrameLocks/>
          </p:cNvGraphicFramePr>
          <p:nvPr>
            <p:extLst>
              <p:ext uri="{D42A27DB-BD31-4B8C-83A1-F6EECF244321}">
                <p14:modId xmlns:p14="http://schemas.microsoft.com/office/powerpoint/2010/main" val="844566179"/>
              </p:ext>
            </p:extLst>
          </p:nvPr>
        </p:nvGraphicFramePr>
        <p:xfrm>
          <a:off x="574155" y="1638300"/>
          <a:ext cx="3616845" cy="457199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Object 2">
            <a:extLst>
              <a:ext uri="{FF2B5EF4-FFF2-40B4-BE49-F238E27FC236}">
                <a16:creationId xmlns:a16="http://schemas.microsoft.com/office/drawing/2014/main" id="{1020AD55-EB64-123A-9677-13484B3019E6}"/>
              </a:ext>
            </a:extLst>
          </p:cNvPr>
          <p:cNvGraphicFramePr>
            <a:graphicFrameLocks/>
          </p:cNvGraphicFramePr>
          <p:nvPr>
            <p:extLst>
              <p:ext uri="{D42A27DB-BD31-4B8C-83A1-F6EECF244321}">
                <p14:modId xmlns:p14="http://schemas.microsoft.com/office/powerpoint/2010/main" val="4264518410"/>
              </p:ext>
            </p:extLst>
          </p:nvPr>
        </p:nvGraphicFramePr>
        <p:xfrm>
          <a:off x="4305300" y="1638300"/>
          <a:ext cx="7541368" cy="4565552"/>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 Placeholder 3">
            <a:extLst>
              <a:ext uri="{FF2B5EF4-FFF2-40B4-BE49-F238E27FC236}">
                <a16:creationId xmlns:a16="http://schemas.microsoft.com/office/drawing/2014/main" id="{EBFE2284-5C7B-2308-C49F-392059408923}"/>
              </a:ext>
            </a:extLst>
          </p:cNvPr>
          <p:cNvSpPr txBox="1">
            <a:spLocks/>
          </p:cNvSpPr>
          <p:nvPr/>
        </p:nvSpPr>
        <p:spPr>
          <a:xfrm>
            <a:off x="576000" y="913471"/>
            <a:ext cx="9783851" cy="303340"/>
          </a:xfrm>
          <a:prstGeom prst="rect">
            <a:avLst/>
          </a:prstGeom>
        </p:spPr>
        <p:txBody>
          <a:bodyPr vert="horz" lIns="91440" tIns="45720" rIns="91440" bIns="45720" rtlCol="0" anchor="ctr">
            <a:noAutofit/>
          </a:bodyPr>
          <a:lstStyle>
            <a:lvl1pPr marL="0" indent="0" algn="l" defTabSz="1219170" rtl="0" eaLnBrk="1" latinLnBrk="0" hangingPunct="1">
              <a:lnSpc>
                <a:spcPts val="2667"/>
              </a:lnSpc>
              <a:spcBef>
                <a:spcPct val="20000"/>
              </a:spcBef>
              <a:buFont typeface="Arial" panose="020B0604020202020204" pitchFamily="34" charset="0"/>
              <a:buNone/>
              <a:defRPr sz="2000" kern="1200">
                <a:solidFill>
                  <a:schemeClr val="tx1"/>
                </a:solidFill>
                <a:latin typeface="+mn-lt"/>
                <a:ea typeface="+mn-ea"/>
                <a:cs typeface="Arial" pitchFamily="34" charset="0"/>
              </a:defRPr>
            </a:lvl1pPr>
            <a:lvl2pPr marL="990575" indent="-380990" algn="l" defTabSz="1219170" rtl="0" eaLnBrk="1" latinLnBrk="0" hangingPunct="1">
              <a:spcBef>
                <a:spcPct val="20000"/>
              </a:spcBef>
              <a:buFont typeface="Arial" panose="020B0604020202020204" pitchFamily="34" charset="0"/>
              <a:buChar char="–"/>
              <a:defRPr sz="1400" b="0" kern="1200">
                <a:solidFill>
                  <a:schemeClr val="tx1"/>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1400" b="0" kern="1200">
                <a:solidFill>
                  <a:schemeClr val="tx1"/>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133"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en-GB" dirty="0"/>
              <a:t>July YTD ADR</a:t>
            </a:r>
          </a:p>
        </p:txBody>
      </p:sp>
    </p:spTree>
    <p:extLst>
      <p:ext uri="{BB962C8B-B14F-4D97-AF65-F5344CB8AC3E}">
        <p14:creationId xmlns:p14="http://schemas.microsoft.com/office/powerpoint/2010/main" val="3024700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0E1866-1D5F-46E2-910C-631917A5D6D5}"/>
              </a:ext>
            </a:extLst>
          </p:cNvPr>
          <p:cNvSpPr>
            <a:spLocks noGrp="1"/>
          </p:cNvSpPr>
          <p:nvPr>
            <p:ph type="title"/>
          </p:nvPr>
        </p:nvSpPr>
        <p:spPr>
          <a:xfrm>
            <a:off x="581025" y="425579"/>
            <a:ext cx="9783850" cy="446789"/>
          </a:xfrm>
        </p:spPr>
        <p:txBody>
          <a:bodyPr>
            <a:spAutoFit/>
          </a:bodyPr>
          <a:lstStyle/>
          <a:p>
            <a:r>
              <a:rPr lang="en-US" dirty="0">
                <a:latin typeface="Calibri" panose="020F0502020204030204" pitchFamily="34" charset="0"/>
                <a:cs typeface="Calibri" panose="020F0502020204030204" pitchFamily="34" charset="0"/>
              </a:rPr>
              <a:t>Downtown lagging</a:t>
            </a:r>
          </a:p>
        </p:txBody>
      </p:sp>
      <p:sp>
        <p:nvSpPr>
          <p:cNvPr id="6" name="TextBox 5">
            <a:extLst>
              <a:ext uri="{FF2B5EF4-FFF2-40B4-BE49-F238E27FC236}">
                <a16:creationId xmlns:a16="http://schemas.microsoft.com/office/drawing/2014/main" id="{95F7A3E6-4AE5-43FF-996B-4741FAAC9AAD}"/>
              </a:ext>
            </a:extLst>
          </p:cNvPr>
          <p:cNvSpPr txBox="1"/>
          <p:nvPr/>
        </p:nvSpPr>
        <p:spPr>
          <a:xfrm>
            <a:off x="271608" y="6455125"/>
            <a:ext cx="4033692" cy="276999"/>
          </a:xfrm>
          <a:prstGeom prst="rect">
            <a:avLst/>
          </a:prstGeom>
          <a:noFill/>
        </p:spPr>
        <p:txBody>
          <a:bodyPr wrap="square" rtlCol="0">
            <a:spAutoFit/>
          </a:bodyPr>
          <a:lstStyle>
            <a:defPPr>
              <a:defRPr lang="en-US"/>
            </a:defPPr>
            <a:lvl1pPr>
              <a:defRPr sz="1200">
                <a:solidFill>
                  <a:schemeClr val="bg1"/>
                </a:solidFill>
                <a:latin typeface="Calibri" panose="020F0502020204030204" pitchFamily="34" charset="0"/>
                <a:cs typeface="Calibri" panose="020F0502020204030204" pitchFamily="34" charset="0"/>
              </a:defRPr>
            </a:lvl1pPr>
          </a:lstStyle>
          <a:p>
            <a:r>
              <a:rPr lang="en-US" dirty="0"/>
              <a:t>Oxford Economics</a:t>
            </a:r>
          </a:p>
        </p:txBody>
      </p:sp>
      <p:graphicFrame>
        <p:nvGraphicFramePr>
          <p:cNvPr id="8" name="Content Placeholder 5">
            <a:extLst>
              <a:ext uri="{FF2B5EF4-FFF2-40B4-BE49-F238E27FC236}">
                <a16:creationId xmlns:a16="http://schemas.microsoft.com/office/drawing/2014/main" id="{F89844EE-964D-4B60-93D2-000A61A1F541}"/>
              </a:ext>
            </a:extLst>
          </p:cNvPr>
          <p:cNvGraphicFramePr>
            <a:graphicFrameLocks/>
          </p:cNvGraphicFramePr>
          <p:nvPr>
            <p:extLst>
              <p:ext uri="{D42A27DB-BD31-4B8C-83A1-F6EECF244321}">
                <p14:modId xmlns:p14="http://schemas.microsoft.com/office/powerpoint/2010/main" val="1448407376"/>
              </p:ext>
            </p:extLst>
          </p:nvPr>
        </p:nvGraphicFramePr>
        <p:xfrm>
          <a:off x="574155" y="1638300"/>
          <a:ext cx="3616845" cy="457199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Object 2">
            <a:extLst>
              <a:ext uri="{FF2B5EF4-FFF2-40B4-BE49-F238E27FC236}">
                <a16:creationId xmlns:a16="http://schemas.microsoft.com/office/drawing/2014/main" id="{1020AD55-EB64-123A-9677-13484B3019E6}"/>
              </a:ext>
            </a:extLst>
          </p:cNvPr>
          <p:cNvGraphicFramePr>
            <a:graphicFrameLocks/>
          </p:cNvGraphicFramePr>
          <p:nvPr>
            <p:extLst>
              <p:ext uri="{D42A27DB-BD31-4B8C-83A1-F6EECF244321}">
                <p14:modId xmlns:p14="http://schemas.microsoft.com/office/powerpoint/2010/main" val="44569871"/>
              </p:ext>
            </p:extLst>
          </p:nvPr>
        </p:nvGraphicFramePr>
        <p:xfrm>
          <a:off x="4305300" y="1638300"/>
          <a:ext cx="7541368" cy="4565552"/>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 Placeholder 3">
            <a:extLst>
              <a:ext uri="{FF2B5EF4-FFF2-40B4-BE49-F238E27FC236}">
                <a16:creationId xmlns:a16="http://schemas.microsoft.com/office/drawing/2014/main" id="{EBFE2284-5C7B-2308-C49F-392059408923}"/>
              </a:ext>
            </a:extLst>
          </p:cNvPr>
          <p:cNvSpPr txBox="1">
            <a:spLocks/>
          </p:cNvSpPr>
          <p:nvPr/>
        </p:nvSpPr>
        <p:spPr>
          <a:xfrm>
            <a:off x="576000" y="913471"/>
            <a:ext cx="9783851" cy="303340"/>
          </a:xfrm>
          <a:prstGeom prst="rect">
            <a:avLst/>
          </a:prstGeom>
        </p:spPr>
        <p:txBody>
          <a:bodyPr vert="horz" lIns="91440" tIns="45720" rIns="91440" bIns="45720" rtlCol="0" anchor="ctr">
            <a:noAutofit/>
          </a:bodyPr>
          <a:lstStyle>
            <a:lvl1pPr marL="0" indent="0" algn="l" defTabSz="1219170" rtl="0" eaLnBrk="1" latinLnBrk="0" hangingPunct="1">
              <a:lnSpc>
                <a:spcPts val="2667"/>
              </a:lnSpc>
              <a:spcBef>
                <a:spcPct val="20000"/>
              </a:spcBef>
              <a:buFont typeface="Arial" panose="020B0604020202020204" pitchFamily="34" charset="0"/>
              <a:buNone/>
              <a:defRPr sz="2000" kern="1200">
                <a:solidFill>
                  <a:schemeClr val="tx1"/>
                </a:solidFill>
                <a:latin typeface="+mn-lt"/>
                <a:ea typeface="+mn-ea"/>
                <a:cs typeface="Arial" pitchFamily="34" charset="0"/>
              </a:defRPr>
            </a:lvl1pPr>
            <a:lvl2pPr marL="990575" indent="-380990" algn="l" defTabSz="1219170" rtl="0" eaLnBrk="1" latinLnBrk="0" hangingPunct="1">
              <a:spcBef>
                <a:spcPct val="20000"/>
              </a:spcBef>
              <a:buFont typeface="Arial" panose="020B0604020202020204" pitchFamily="34" charset="0"/>
              <a:buChar char="–"/>
              <a:defRPr sz="1400" b="0" kern="1200">
                <a:solidFill>
                  <a:schemeClr val="tx1"/>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1400" b="0" kern="1200">
                <a:solidFill>
                  <a:schemeClr val="tx1"/>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133"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en-GB" dirty="0"/>
              <a:t>July YTD RevPAR</a:t>
            </a:r>
          </a:p>
        </p:txBody>
      </p:sp>
    </p:spTree>
    <p:extLst>
      <p:ext uri="{BB962C8B-B14F-4D97-AF65-F5344CB8AC3E}">
        <p14:creationId xmlns:p14="http://schemas.microsoft.com/office/powerpoint/2010/main" val="2170461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F4DEC4-368C-A946-A32C-02638832D28A}"/>
              </a:ext>
            </a:extLst>
          </p:cNvPr>
          <p:cNvPicPr>
            <a:picLocks noChangeAspect="1"/>
          </p:cNvPicPr>
          <p:nvPr/>
        </p:nvPicPr>
        <p:blipFill>
          <a:blip r:embed="rId2"/>
          <a:stretch>
            <a:fillRect/>
          </a:stretch>
        </p:blipFill>
        <p:spPr>
          <a:xfrm>
            <a:off x="0" y="0"/>
            <a:ext cx="12192000" cy="6864626"/>
          </a:xfrm>
          <a:prstGeom prst="rect">
            <a:avLst/>
          </a:prstGeom>
        </p:spPr>
      </p:pic>
      <p:pic>
        <p:nvPicPr>
          <p:cNvPr id="4" name="Logo">
            <a:extLst>
              <a:ext uri="{FF2B5EF4-FFF2-40B4-BE49-F238E27FC236}">
                <a16:creationId xmlns:a16="http://schemas.microsoft.com/office/drawing/2014/main" id="{4C1B4ECD-E4B7-C74B-9403-8A2FA85457A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49565" y="209082"/>
            <a:ext cx="1259664" cy="1259664"/>
          </a:xfrm>
          <a:prstGeom prst="rect">
            <a:avLst/>
          </a:prstGeom>
        </p:spPr>
      </p:pic>
      <p:sp>
        <p:nvSpPr>
          <p:cNvPr id="9" name="Title 1">
            <a:extLst>
              <a:ext uri="{FF2B5EF4-FFF2-40B4-BE49-F238E27FC236}">
                <a16:creationId xmlns:a16="http://schemas.microsoft.com/office/drawing/2014/main" id="{3FEA2B75-E3A8-CE4E-9DE6-1B4A06F91DD6}"/>
              </a:ext>
            </a:extLst>
          </p:cNvPr>
          <p:cNvSpPr txBox="1">
            <a:spLocks/>
          </p:cNvSpPr>
          <p:nvPr/>
        </p:nvSpPr>
        <p:spPr>
          <a:xfrm>
            <a:off x="582727" y="3491906"/>
            <a:ext cx="5864372" cy="72499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600" b="1" dirty="0">
                <a:solidFill>
                  <a:schemeClr val="bg1"/>
                </a:solidFill>
                <a:latin typeface="+mn-lt"/>
              </a:rPr>
              <a:t>Outlook</a:t>
            </a:r>
          </a:p>
        </p:txBody>
      </p:sp>
    </p:spTree>
    <p:extLst>
      <p:ext uri="{BB962C8B-B14F-4D97-AF65-F5344CB8AC3E}">
        <p14:creationId xmlns:p14="http://schemas.microsoft.com/office/powerpoint/2010/main" val="1433012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9069DE2C-130F-439A-AED6-9FCEF7839781}"/>
              </a:ext>
            </a:extLst>
          </p:cNvPr>
          <p:cNvGraphicFramePr/>
          <p:nvPr>
            <p:extLst>
              <p:ext uri="{D42A27DB-BD31-4B8C-83A1-F6EECF244321}">
                <p14:modId xmlns:p14="http://schemas.microsoft.com/office/powerpoint/2010/main" val="1127185745"/>
              </p:ext>
            </p:extLst>
          </p:nvPr>
        </p:nvGraphicFramePr>
        <p:xfrm>
          <a:off x="592799" y="1610144"/>
          <a:ext cx="11256301" cy="458519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0C2EC374-73C6-C782-0D4B-A20731558EB0}"/>
              </a:ext>
            </a:extLst>
          </p:cNvPr>
          <p:cNvGraphicFramePr/>
          <p:nvPr>
            <p:extLst>
              <p:ext uri="{D42A27DB-BD31-4B8C-83A1-F6EECF244321}">
                <p14:modId xmlns:p14="http://schemas.microsoft.com/office/powerpoint/2010/main" val="2309661158"/>
              </p:ext>
            </p:extLst>
          </p:nvPr>
        </p:nvGraphicFramePr>
        <p:xfrm>
          <a:off x="592799" y="1619669"/>
          <a:ext cx="11256301" cy="4585191"/>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B5BEBBBF-85DC-4FB8-9081-6F715726CBA3}"/>
              </a:ext>
            </a:extLst>
          </p:cNvPr>
          <p:cNvSpPr txBox="1"/>
          <p:nvPr/>
        </p:nvSpPr>
        <p:spPr>
          <a:xfrm>
            <a:off x="1767368" y="1692035"/>
            <a:ext cx="111440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F3F3F"/>
                </a:solidFill>
                <a:effectLst/>
                <a:uLnTx/>
                <a:uFillTx/>
                <a:latin typeface="Calibri"/>
                <a:ea typeface="+mn-ea"/>
                <a:cs typeface="+mn-cs"/>
              </a:rPr>
              <a:t>Occupancy</a:t>
            </a:r>
          </a:p>
        </p:txBody>
      </p:sp>
      <p:sp>
        <p:nvSpPr>
          <p:cNvPr id="8" name="TextBox 7">
            <a:extLst>
              <a:ext uri="{FF2B5EF4-FFF2-40B4-BE49-F238E27FC236}">
                <a16:creationId xmlns:a16="http://schemas.microsoft.com/office/drawing/2014/main" id="{0C357F6C-0805-4390-B2FE-846DDB545FA4}"/>
              </a:ext>
            </a:extLst>
          </p:cNvPr>
          <p:cNvSpPr txBox="1"/>
          <p:nvPr/>
        </p:nvSpPr>
        <p:spPr>
          <a:xfrm>
            <a:off x="5883164" y="1690528"/>
            <a:ext cx="55496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F3F3F"/>
                </a:solidFill>
                <a:effectLst/>
                <a:uLnTx/>
                <a:uFillTx/>
                <a:latin typeface="Calibri"/>
                <a:ea typeface="+mn-ea"/>
                <a:cs typeface="+mn-cs"/>
              </a:rPr>
              <a:t>ADR</a:t>
            </a:r>
          </a:p>
        </p:txBody>
      </p:sp>
      <p:sp>
        <p:nvSpPr>
          <p:cNvPr id="10" name="TextBox 9">
            <a:extLst>
              <a:ext uri="{FF2B5EF4-FFF2-40B4-BE49-F238E27FC236}">
                <a16:creationId xmlns:a16="http://schemas.microsoft.com/office/drawing/2014/main" id="{3F0CA3B7-FC10-4CF0-8919-ABF0D64EAC1C}"/>
              </a:ext>
            </a:extLst>
          </p:cNvPr>
          <p:cNvSpPr txBox="1"/>
          <p:nvPr/>
        </p:nvSpPr>
        <p:spPr>
          <a:xfrm>
            <a:off x="9607835" y="1692035"/>
            <a:ext cx="83195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F3F3F"/>
                </a:solidFill>
                <a:effectLst/>
                <a:uLnTx/>
                <a:uFillTx/>
                <a:latin typeface="Calibri"/>
                <a:ea typeface="+mn-ea"/>
                <a:cs typeface="+mn-cs"/>
              </a:rPr>
              <a:t>RevPAR</a:t>
            </a:r>
          </a:p>
        </p:txBody>
      </p:sp>
      <p:sp>
        <p:nvSpPr>
          <p:cNvPr id="11" name="Title 1">
            <a:extLst>
              <a:ext uri="{FF2B5EF4-FFF2-40B4-BE49-F238E27FC236}">
                <a16:creationId xmlns:a16="http://schemas.microsoft.com/office/drawing/2014/main" id="{8CEE78A2-69B0-4652-811B-07B55706B1F7}"/>
              </a:ext>
            </a:extLst>
          </p:cNvPr>
          <p:cNvSpPr>
            <a:spLocks noGrp="1"/>
          </p:cNvSpPr>
          <p:nvPr>
            <p:ph type="title"/>
          </p:nvPr>
        </p:nvSpPr>
        <p:spPr>
          <a:xfrm>
            <a:off x="575998" y="434046"/>
            <a:ext cx="9830481" cy="446789"/>
          </a:xfrm>
        </p:spPr>
        <p:txBody>
          <a:bodyPr wrap="square">
            <a:spAutoFit/>
          </a:bodyPr>
          <a:lstStyle/>
          <a:p>
            <a:r>
              <a:rPr lang="en-US" dirty="0">
                <a:cs typeface="Arial"/>
              </a:rPr>
              <a:t>Occupancy, ADR and RevPAR at record highs by 2025</a:t>
            </a:r>
          </a:p>
        </p:txBody>
      </p:sp>
      <p:sp>
        <p:nvSpPr>
          <p:cNvPr id="12" name="Text Placeholder 3">
            <a:extLst>
              <a:ext uri="{FF2B5EF4-FFF2-40B4-BE49-F238E27FC236}">
                <a16:creationId xmlns:a16="http://schemas.microsoft.com/office/drawing/2014/main" id="{974CC355-1190-4E90-B02F-21BA7C89CC6B}"/>
              </a:ext>
            </a:extLst>
          </p:cNvPr>
          <p:cNvSpPr>
            <a:spLocks noGrp="1"/>
          </p:cNvSpPr>
          <p:nvPr>
            <p:ph type="body" sz="quarter" idx="13"/>
          </p:nvPr>
        </p:nvSpPr>
        <p:spPr>
          <a:xfrm>
            <a:off x="576000" y="859245"/>
            <a:ext cx="8280519" cy="419730"/>
          </a:xfrm>
        </p:spPr>
        <p:txBody>
          <a:bodyPr anchor="ctr">
            <a:spAutoFit/>
          </a:bodyPr>
          <a:lstStyle/>
          <a:p>
            <a:r>
              <a:rPr lang="en-US" dirty="0"/>
              <a:t>U.S. KPIs</a:t>
            </a:r>
          </a:p>
        </p:txBody>
      </p:sp>
      <p:pic>
        <p:nvPicPr>
          <p:cNvPr id="9" name="Picture 8">
            <a:extLst>
              <a:ext uri="{FF2B5EF4-FFF2-40B4-BE49-F238E27FC236}">
                <a16:creationId xmlns:a16="http://schemas.microsoft.com/office/drawing/2014/main" id="{CD35CC9E-7058-42D9-AE9A-7E7AAD82967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6001" y="6220609"/>
            <a:ext cx="1373078" cy="419392"/>
          </a:xfrm>
          <a:prstGeom prst="rect">
            <a:avLst/>
          </a:prstGeom>
        </p:spPr>
      </p:pic>
      <p:sp>
        <p:nvSpPr>
          <p:cNvPr id="3" name="TextBox 2">
            <a:extLst>
              <a:ext uri="{FF2B5EF4-FFF2-40B4-BE49-F238E27FC236}">
                <a16:creationId xmlns:a16="http://schemas.microsoft.com/office/drawing/2014/main" id="{F481A9F3-CB75-B34E-0665-D92B215D5C32}"/>
              </a:ext>
            </a:extLst>
          </p:cNvPr>
          <p:cNvSpPr txBox="1"/>
          <p:nvPr/>
        </p:nvSpPr>
        <p:spPr>
          <a:xfrm>
            <a:off x="5252938" y="2771775"/>
            <a:ext cx="574196" cy="276999"/>
          </a:xfrm>
          <a:prstGeom prst="rect">
            <a:avLst/>
          </a:prstGeom>
          <a:noFill/>
        </p:spPr>
        <p:txBody>
          <a:bodyPr wrap="none" rtlCol="0">
            <a:spAutoFit/>
          </a:bodyPr>
          <a:lstStyle/>
          <a:p>
            <a:r>
              <a:rPr lang="en-US" sz="1200" b="1" dirty="0">
                <a:solidFill>
                  <a:schemeClr val="bg1"/>
                </a:solidFill>
              </a:rPr>
              <a:t>18.3%</a:t>
            </a:r>
          </a:p>
        </p:txBody>
      </p:sp>
      <p:sp>
        <p:nvSpPr>
          <p:cNvPr id="15" name="TextBox 14">
            <a:extLst>
              <a:ext uri="{FF2B5EF4-FFF2-40B4-BE49-F238E27FC236}">
                <a16:creationId xmlns:a16="http://schemas.microsoft.com/office/drawing/2014/main" id="{C70B624B-A6E0-40C1-8186-05004483D065}"/>
              </a:ext>
            </a:extLst>
          </p:cNvPr>
          <p:cNvSpPr txBox="1"/>
          <p:nvPr/>
        </p:nvSpPr>
        <p:spPr>
          <a:xfrm>
            <a:off x="5919688" y="2590800"/>
            <a:ext cx="495649" cy="276999"/>
          </a:xfrm>
          <a:prstGeom prst="rect">
            <a:avLst/>
          </a:prstGeom>
          <a:noFill/>
        </p:spPr>
        <p:txBody>
          <a:bodyPr wrap="none" rtlCol="0">
            <a:spAutoFit/>
          </a:bodyPr>
          <a:lstStyle/>
          <a:p>
            <a:r>
              <a:rPr lang="en-US" sz="1200" b="1" dirty="0">
                <a:solidFill>
                  <a:schemeClr val="bg1"/>
                </a:solidFill>
              </a:rPr>
              <a:t>3.0%</a:t>
            </a:r>
          </a:p>
        </p:txBody>
      </p:sp>
      <p:sp>
        <p:nvSpPr>
          <p:cNvPr id="16" name="TextBox 15">
            <a:extLst>
              <a:ext uri="{FF2B5EF4-FFF2-40B4-BE49-F238E27FC236}">
                <a16:creationId xmlns:a16="http://schemas.microsoft.com/office/drawing/2014/main" id="{88D6DAB0-0B45-F2EB-00D8-212E58E7AE40}"/>
              </a:ext>
            </a:extLst>
          </p:cNvPr>
          <p:cNvSpPr txBox="1"/>
          <p:nvPr/>
        </p:nvSpPr>
        <p:spPr>
          <a:xfrm>
            <a:off x="6557863" y="2438400"/>
            <a:ext cx="495649" cy="276999"/>
          </a:xfrm>
          <a:prstGeom prst="rect">
            <a:avLst/>
          </a:prstGeom>
          <a:noFill/>
        </p:spPr>
        <p:txBody>
          <a:bodyPr wrap="none" rtlCol="0">
            <a:spAutoFit/>
          </a:bodyPr>
          <a:lstStyle/>
          <a:p>
            <a:r>
              <a:rPr lang="en-US" sz="1200" b="1" dirty="0">
                <a:solidFill>
                  <a:schemeClr val="bg1"/>
                </a:solidFill>
              </a:rPr>
              <a:t>3.1%</a:t>
            </a:r>
          </a:p>
        </p:txBody>
      </p:sp>
      <p:sp>
        <p:nvSpPr>
          <p:cNvPr id="17" name="TextBox 16">
            <a:extLst>
              <a:ext uri="{FF2B5EF4-FFF2-40B4-BE49-F238E27FC236}">
                <a16:creationId xmlns:a16="http://schemas.microsoft.com/office/drawing/2014/main" id="{433C17B6-B753-6512-0982-9084555F0C45}"/>
              </a:ext>
            </a:extLst>
          </p:cNvPr>
          <p:cNvSpPr txBox="1"/>
          <p:nvPr/>
        </p:nvSpPr>
        <p:spPr>
          <a:xfrm>
            <a:off x="7215088" y="2314575"/>
            <a:ext cx="495649" cy="276999"/>
          </a:xfrm>
          <a:prstGeom prst="rect">
            <a:avLst/>
          </a:prstGeom>
          <a:noFill/>
        </p:spPr>
        <p:txBody>
          <a:bodyPr wrap="none" rtlCol="0">
            <a:spAutoFit/>
          </a:bodyPr>
          <a:lstStyle/>
          <a:p>
            <a:r>
              <a:rPr lang="en-US" sz="1200" b="1" dirty="0">
                <a:solidFill>
                  <a:schemeClr val="bg1"/>
                </a:solidFill>
              </a:rPr>
              <a:t>2.6%</a:t>
            </a:r>
          </a:p>
        </p:txBody>
      </p:sp>
      <p:sp>
        <p:nvSpPr>
          <p:cNvPr id="19" name="TextBox 18">
            <a:extLst>
              <a:ext uri="{FF2B5EF4-FFF2-40B4-BE49-F238E27FC236}">
                <a16:creationId xmlns:a16="http://schemas.microsoft.com/office/drawing/2014/main" id="{9E748CFC-600C-0641-F36E-F2FB3EDE69D8}"/>
              </a:ext>
            </a:extLst>
          </p:cNvPr>
          <p:cNvSpPr txBox="1"/>
          <p:nvPr/>
        </p:nvSpPr>
        <p:spPr>
          <a:xfrm>
            <a:off x="9091513" y="4657725"/>
            <a:ext cx="574196" cy="276999"/>
          </a:xfrm>
          <a:prstGeom prst="rect">
            <a:avLst/>
          </a:prstGeom>
          <a:noFill/>
        </p:spPr>
        <p:txBody>
          <a:bodyPr wrap="none" rtlCol="0">
            <a:spAutoFit/>
          </a:bodyPr>
          <a:lstStyle/>
          <a:p>
            <a:r>
              <a:rPr lang="en-US" sz="1200" b="1" dirty="0">
                <a:solidFill>
                  <a:schemeClr val="bg1"/>
                </a:solidFill>
              </a:rPr>
              <a:t>29.5%</a:t>
            </a:r>
          </a:p>
        </p:txBody>
      </p:sp>
      <p:sp>
        <p:nvSpPr>
          <p:cNvPr id="20" name="TextBox 19">
            <a:extLst>
              <a:ext uri="{FF2B5EF4-FFF2-40B4-BE49-F238E27FC236}">
                <a16:creationId xmlns:a16="http://schemas.microsoft.com/office/drawing/2014/main" id="{C2E6306C-C1E3-4E53-2DDD-1A0049438960}"/>
              </a:ext>
            </a:extLst>
          </p:cNvPr>
          <p:cNvSpPr txBox="1"/>
          <p:nvPr/>
        </p:nvSpPr>
        <p:spPr>
          <a:xfrm>
            <a:off x="9777313" y="4457700"/>
            <a:ext cx="495649" cy="276999"/>
          </a:xfrm>
          <a:prstGeom prst="rect">
            <a:avLst/>
          </a:prstGeom>
          <a:noFill/>
        </p:spPr>
        <p:txBody>
          <a:bodyPr wrap="none" rtlCol="0">
            <a:spAutoFit/>
          </a:bodyPr>
          <a:lstStyle/>
          <a:p>
            <a:r>
              <a:rPr lang="en-US" sz="1200" b="1" dirty="0">
                <a:solidFill>
                  <a:schemeClr val="bg1"/>
                </a:solidFill>
              </a:rPr>
              <a:t>5.7%</a:t>
            </a:r>
          </a:p>
        </p:txBody>
      </p:sp>
      <p:sp>
        <p:nvSpPr>
          <p:cNvPr id="21" name="TextBox 20">
            <a:extLst>
              <a:ext uri="{FF2B5EF4-FFF2-40B4-BE49-F238E27FC236}">
                <a16:creationId xmlns:a16="http://schemas.microsoft.com/office/drawing/2014/main" id="{78BDD435-31A9-FC1E-546A-D85EC1BD06A5}"/>
              </a:ext>
            </a:extLst>
          </p:cNvPr>
          <p:cNvSpPr txBox="1"/>
          <p:nvPr/>
        </p:nvSpPr>
        <p:spPr>
          <a:xfrm>
            <a:off x="10415488" y="4295775"/>
            <a:ext cx="495649" cy="276999"/>
          </a:xfrm>
          <a:prstGeom prst="rect">
            <a:avLst/>
          </a:prstGeom>
          <a:noFill/>
        </p:spPr>
        <p:txBody>
          <a:bodyPr wrap="none" rtlCol="0">
            <a:spAutoFit/>
          </a:bodyPr>
          <a:lstStyle/>
          <a:p>
            <a:r>
              <a:rPr lang="en-US" sz="1200" b="1" dirty="0">
                <a:solidFill>
                  <a:schemeClr val="bg1"/>
                </a:solidFill>
              </a:rPr>
              <a:t>5.0%</a:t>
            </a:r>
          </a:p>
        </p:txBody>
      </p:sp>
      <p:sp>
        <p:nvSpPr>
          <p:cNvPr id="22" name="TextBox 21">
            <a:extLst>
              <a:ext uri="{FF2B5EF4-FFF2-40B4-BE49-F238E27FC236}">
                <a16:creationId xmlns:a16="http://schemas.microsoft.com/office/drawing/2014/main" id="{9FC1DB00-4B8F-370C-0132-4E605DDBE936}"/>
              </a:ext>
            </a:extLst>
          </p:cNvPr>
          <p:cNvSpPr txBox="1"/>
          <p:nvPr/>
        </p:nvSpPr>
        <p:spPr>
          <a:xfrm>
            <a:off x="11063188" y="4181475"/>
            <a:ext cx="495649" cy="276999"/>
          </a:xfrm>
          <a:prstGeom prst="rect">
            <a:avLst/>
          </a:prstGeom>
          <a:noFill/>
        </p:spPr>
        <p:txBody>
          <a:bodyPr wrap="none" rtlCol="0">
            <a:spAutoFit/>
          </a:bodyPr>
          <a:lstStyle/>
          <a:p>
            <a:r>
              <a:rPr lang="en-US" sz="1200" b="1" dirty="0">
                <a:solidFill>
                  <a:schemeClr val="bg1"/>
                </a:solidFill>
              </a:rPr>
              <a:t>3.3%</a:t>
            </a:r>
          </a:p>
        </p:txBody>
      </p:sp>
    </p:spTree>
    <p:extLst>
      <p:ext uri="{BB962C8B-B14F-4D97-AF65-F5344CB8AC3E}">
        <p14:creationId xmlns:p14="http://schemas.microsoft.com/office/powerpoint/2010/main" val="57372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25A9944-975C-6148-A676-5191554C7F1F}"/>
              </a:ext>
            </a:extLst>
          </p:cNvPr>
          <p:cNvPicPr>
            <a:picLocks noChangeAspect="1"/>
          </p:cNvPicPr>
          <p:nvPr/>
        </p:nvPicPr>
        <p:blipFill rotWithShape="1">
          <a:blip r:embed="rId2"/>
          <a:srcRect t="2946" r="4068" b="1213"/>
          <a:stretch/>
        </p:blipFill>
        <p:spPr>
          <a:xfrm>
            <a:off x="1" y="0"/>
            <a:ext cx="12192000" cy="6858000"/>
          </a:xfrm>
          <a:prstGeom prst="rect">
            <a:avLst/>
          </a:prstGeom>
        </p:spPr>
      </p:pic>
      <p:pic>
        <p:nvPicPr>
          <p:cNvPr id="4" name="Logo">
            <a:extLst>
              <a:ext uri="{FF2B5EF4-FFF2-40B4-BE49-F238E27FC236}">
                <a16:creationId xmlns:a16="http://schemas.microsoft.com/office/drawing/2014/main" id="{4C1B4ECD-E4B7-C74B-9403-8A2FA85457A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49565" y="209082"/>
            <a:ext cx="1259664" cy="1259664"/>
          </a:xfrm>
          <a:prstGeom prst="rect">
            <a:avLst/>
          </a:prstGeom>
        </p:spPr>
      </p:pic>
      <p:sp>
        <p:nvSpPr>
          <p:cNvPr id="9" name="Title 1">
            <a:extLst>
              <a:ext uri="{FF2B5EF4-FFF2-40B4-BE49-F238E27FC236}">
                <a16:creationId xmlns:a16="http://schemas.microsoft.com/office/drawing/2014/main" id="{ED883431-E588-CE46-A0CE-E8A554D9717A}"/>
              </a:ext>
            </a:extLst>
          </p:cNvPr>
          <p:cNvSpPr txBox="1">
            <a:spLocks/>
          </p:cNvSpPr>
          <p:nvPr/>
        </p:nvSpPr>
        <p:spPr>
          <a:xfrm>
            <a:off x="582727" y="3491906"/>
            <a:ext cx="5864372" cy="72499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600" b="1" dirty="0">
                <a:solidFill>
                  <a:schemeClr val="bg1"/>
                </a:solidFill>
                <a:latin typeface="+mn-lt"/>
              </a:rPr>
              <a:t>Industry Performance</a:t>
            </a:r>
          </a:p>
        </p:txBody>
      </p:sp>
    </p:spTree>
    <p:extLst>
      <p:ext uri="{BB962C8B-B14F-4D97-AF65-F5344CB8AC3E}">
        <p14:creationId xmlns:p14="http://schemas.microsoft.com/office/powerpoint/2010/main" val="3508546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9069DE2C-130F-439A-AED6-9FCEF7839781}"/>
              </a:ext>
            </a:extLst>
          </p:cNvPr>
          <p:cNvGraphicFramePr/>
          <p:nvPr>
            <p:extLst>
              <p:ext uri="{D42A27DB-BD31-4B8C-83A1-F6EECF244321}">
                <p14:modId xmlns:p14="http://schemas.microsoft.com/office/powerpoint/2010/main" val="4202594183"/>
              </p:ext>
            </p:extLst>
          </p:nvPr>
        </p:nvGraphicFramePr>
        <p:xfrm>
          <a:off x="592799" y="1610144"/>
          <a:ext cx="11256301" cy="4585191"/>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B5BEBBBF-85DC-4FB8-9081-6F715726CBA3}"/>
              </a:ext>
            </a:extLst>
          </p:cNvPr>
          <p:cNvSpPr txBox="1"/>
          <p:nvPr/>
        </p:nvSpPr>
        <p:spPr>
          <a:xfrm>
            <a:off x="1509286" y="1692035"/>
            <a:ext cx="1630575"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F3F3F"/>
                </a:solidFill>
                <a:effectLst/>
                <a:uLnTx/>
                <a:uFillTx/>
                <a:latin typeface="Calibri"/>
                <a:ea typeface="+mn-ea"/>
                <a:cs typeface="+mn-cs"/>
              </a:rPr>
              <a:t>Occupancy Index</a:t>
            </a:r>
          </a:p>
        </p:txBody>
      </p:sp>
      <p:sp>
        <p:nvSpPr>
          <p:cNvPr id="8" name="TextBox 7">
            <a:extLst>
              <a:ext uri="{FF2B5EF4-FFF2-40B4-BE49-F238E27FC236}">
                <a16:creationId xmlns:a16="http://schemas.microsoft.com/office/drawing/2014/main" id="{0C357F6C-0805-4390-B2FE-846DDB545FA4}"/>
              </a:ext>
            </a:extLst>
          </p:cNvPr>
          <p:cNvSpPr txBox="1"/>
          <p:nvPr/>
        </p:nvSpPr>
        <p:spPr>
          <a:xfrm>
            <a:off x="5625081" y="1690528"/>
            <a:ext cx="107112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F3F3F"/>
                </a:solidFill>
                <a:effectLst/>
                <a:uLnTx/>
                <a:uFillTx/>
                <a:latin typeface="Calibri"/>
                <a:ea typeface="+mn-ea"/>
                <a:cs typeface="+mn-cs"/>
              </a:rPr>
              <a:t>ADR Index</a:t>
            </a:r>
          </a:p>
        </p:txBody>
      </p:sp>
      <p:sp>
        <p:nvSpPr>
          <p:cNvPr id="10" name="TextBox 9">
            <a:extLst>
              <a:ext uri="{FF2B5EF4-FFF2-40B4-BE49-F238E27FC236}">
                <a16:creationId xmlns:a16="http://schemas.microsoft.com/office/drawing/2014/main" id="{3F0CA3B7-FC10-4CF0-8919-ABF0D64EAC1C}"/>
              </a:ext>
            </a:extLst>
          </p:cNvPr>
          <p:cNvSpPr txBox="1"/>
          <p:nvPr/>
        </p:nvSpPr>
        <p:spPr>
          <a:xfrm>
            <a:off x="9349752" y="1692035"/>
            <a:ext cx="1348126"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F3F3F"/>
                </a:solidFill>
                <a:effectLst/>
                <a:uLnTx/>
                <a:uFillTx/>
                <a:latin typeface="Calibri"/>
                <a:ea typeface="+mn-ea"/>
                <a:cs typeface="+mn-cs"/>
              </a:rPr>
              <a:t>RevPAR Index</a:t>
            </a:r>
          </a:p>
        </p:txBody>
      </p:sp>
      <p:sp>
        <p:nvSpPr>
          <p:cNvPr id="11" name="Title 1">
            <a:extLst>
              <a:ext uri="{FF2B5EF4-FFF2-40B4-BE49-F238E27FC236}">
                <a16:creationId xmlns:a16="http://schemas.microsoft.com/office/drawing/2014/main" id="{8CEE78A2-69B0-4652-811B-07B55706B1F7}"/>
              </a:ext>
            </a:extLst>
          </p:cNvPr>
          <p:cNvSpPr>
            <a:spLocks noGrp="1"/>
          </p:cNvSpPr>
          <p:nvPr>
            <p:ph type="title"/>
          </p:nvPr>
        </p:nvSpPr>
        <p:spPr>
          <a:xfrm>
            <a:off x="575998" y="434046"/>
            <a:ext cx="9830481" cy="446789"/>
          </a:xfrm>
        </p:spPr>
        <p:txBody>
          <a:bodyPr wrap="square">
            <a:spAutoFit/>
          </a:bodyPr>
          <a:lstStyle/>
          <a:p>
            <a:r>
              <a:rPr lang="en-US" dirty="0">
                <a:cs typeface="Arial"/>
              </a:rPr>
              <a:t>In real terms, full RevPAR recovery is projected in 2024</a:t>
            </a:r>
          </a:p>
        </p:txBody>
      </p:sp>
      <p:sp>
        <p:nvSpPr>
          <p:cNvPr id="12" name="Text Placeholder 3">
            <a:extLst>
              <a:ext uri="{FF2B5EF4-FFF2-40B4-BE49-F238E27FC236}">
                <a16:creationId xmlns:a16="http://schemas.microsoft.com/office/drawing/2014/main" id="{974CC355-1190-4E90-B02F-21BA7C89CC6B}"/>
              </a:ext>
            </a:extLst>
          </p:cNvPr>
          <p:cNvSpPr>
            <a:spLocks noGrp="1"/>
          </p:cNvSpPr>
          <p:nvPr>
            <p:ph type="body" sz="quarter" idx="13"/>
          </p:nvPr>
        </p:nvSpPr>
        <p:spPr>
          <a:xfrm>
            <a:off x="576000" y="859245"/>
            <a:ext cx="8280519" cy="419730"/>
          </a:xfrm>
        </p:spPr>
        <p:txBody>
          <a:bodyPr anchor="ctr">
            <a:spAutoFit/>
          </a:bodyPr>
          <a:lstStyle/>
          <a:p>
            <a:r>
              <a:rPr lang="en-US" dirty="0"/>
              <a:t>U.S. KPIs, indexed to 2019</a:t>
            </a:r>
          </a:p>
        </p:txBody>
      </p:sp>
      <p:pic>
        <p:nvPicPr>
          <p:cNvPr id="9" name="Picture 8">
            <a:extLst>
              <a:ext uri="{FF2B5EF4-FFF2-40B4-BE49-F238E27FC236}">
                <a16:creationId xmlns:a16="http://schemas.microsoft.com/office/drawing/2014/main" id="{CD35CC9E-7058-42D9-AE9A-7E7AAD8296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6001" y="6220609"/>
            <a:ext cx="1373078" cy="419392"/>
          </a:xfrm>
          <a:prstGeom prst="rect">
            <a:avLst/>
          </a:prstGeom>
        </p:spPr>
      </p:pic>
    </p:spTree>
    <p:extLst>
      <p:ext uri="{BB962C8B-B14F-4D97-AF65-F5344CB8AC3E}">
        <p14:creationId xmlns:p14="http://schemas.microsoft.com/office/powerpoint/2010/main" val="3095615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3" name="Rectangle 3"/>
          <p:cNvSpPr>
            <a:spLocks noGrp="1" noChangeArrowheads="1"/>
          </p:cNvSpPr>
          <p:nvPr>
            <p:ph type="title"/>
          </p:nvPr>
        </p:nvSpPr>
        <p:spPr bwMode="auto">
          <a:xfrm>
            <a:off x="576000" y="429118"/>
            <a:ext cx="10415849" cy="453586"/>
          </a:xfrm>
          <a:noFill/>
          <a:ln>
            <a:miter lim="800000"/>
            <a:headEnd/>
            <a:tailEnd/>
          </a:ln>
        </p:spPr>
        <p:txBody>
          <a:bodyPr vert="horz" wrap="square" lIns="91440" tIns="45720" rIns="91440" bIns="45720" numCol="1" rtlCol="0" anchor="ctr" anchorCtr="0" compatLnSpc="1">
            <a:prstTxWarp prst="textNoShape">
              <a:avLst/>
            </a:prstTxWarp>
            <a:spAutoFit/>
          </a:bodyPr>
          <a:lstStyle/>
          <a:p>
            <a:r>
              <a:rPr lang="en-US" dirty="0"/>
              <a:t>Leisure will continue to lead the recovery</a:t>
            </a:r>
            <a:endParaRPr lang="en-US" b="0" dirty="0"/>
          </a:p>
        </p:txBody>
      </p:sp>
      <p:sp>
        <p:nvSpPr>
          <p:cNvPr id="4" name="Text Placeholder 1">
            <a:extLst>
              <a:ext uri="{FF2B5EF4-FFF2-40B4-BE49-F238E27FC236}">
                <a16:creationId xmlns:a16="http://schemas.microsoft.com/office/drawing/2014/main" id="{989F7209-F958-49EF-897C-86E3A6FD4A1E}"/>
              </a:ext>
            </a:extLst>
          </p:cNvPr>
          <p:cNvSpPr>
            <a:spLocks noGrp="1"/>
          </p:cNvSpPr>
          <p:nvPr>
            <p:ph type="body" sz="quarter" idx="13"/>
          </p:nvPr>
        </p:nvSpPr>
        <p:spPr>
          <a:xfrm>
            <a:off x="612388" y="824604"/>
            <a:ext cx="10187250" cy="400110"/>
          </a:xfrm>
        </p:spPr>
        <p:txBody>
          <a:bodyPr anchor="ctr">
            <a:spAutoFit/>
          </a:bodyPr>
          <a:lstStyle/>
          <a:p>
            <a:pPr>
              <a:lnSpc>
                <a:spcPct val="100000"/>
              </a:lnSpc>
              <a:spcBef>
                <a:spcPts val="0"/>
              </a:spcBef>
            </a:pPr>
            <a:r>
              <a:rPr lang="en-US" dirty="0"/>
              <a:t>U.S. industry demand forecast by segment, indexed to 2019</a:t>
            </a:r>
          </a:p>
        </p:txBody>
      </p:sp>
      <p:pic>
        <p:nvPicPr>
          <p:cNvPr id="6" name="Picture 5">
            <a:extLst>
              <a:ext uri="{FF2B5EF4-FFF2-40B4-BE49-F238E27FC236}">
                <a16:creationId xmlns:a16="http://schemas.microsoft.com/office/drawing/2014/main" id="{22F7DBFF-8E87-4C17-9F46-FF29D7F41F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6001" y="6220609"/>
            <a:ext cx="1373078" cy="419392"/>
          </a:xfrm>
          <a:prstGeom prst="rect">
            <a:avLst/>
          </a:prstGeom>
        </p:spPr>
      </p:pic>
      <p:graphicFrame>
        <p:nvGraphicFramePr>
          <p:cNvPr id="8" name="Chart 7">
            <a:extLst>
              <a:ext uri="{FF2B5EF4-FFF2-40B4-BE49-F238E27FC236}">
                <a16:creationId xmlns:a16="http://schemas.microsoft.com/office/drawing/2014/main" id="{B771AB29-59FA-ED44-9FB4-38BC967FDE83}"/>
              </a:ext>
            </a:extLst>
          </p:cNvPr>
          <p:cNvGraphicFramePr>
            <a:graphicFrameLocks noGrp="1"/>
          </p:cNvGraphicFramePr>
          <p:nvPr>
            <p:extLst>
              <p:ext uri="{D42A27DB-BD31-4B8C-83A1-F6EECF244321}">
                <p14:modId xmlns:p14="http://schemas.microsoft.com/office/powerpoint/2010/main" val="2807161699"/>
              </p:ext>
            </p:extLst>
          </p:nvPr>
        </p:nvGraphicFramePr>
        <p:xfrm>
          <a:off x="571500" y="1630363"/>
          <a:ext cx="11277600" cy="457993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72109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
          <p:cNvGraphicFramePr>
            <a:graphicFrameLocks noGrp="1" noChangeAspect="1"/>
          </p:cNvGraphicFramePr>
          <p:nvPr>
            <p:ph idx="4294967295"/>
            <p:extLst>
              <p:ext uri="{D42A27DB-BD31-4B8C-83A1-F6EECF244321}">
                <p14:modId xmlns:p14="http://schemas.microsoft.com/office/powerpoint/2010/main" val="3285542801"/>
              </p:ext>
            </p:extLst>
          </p:nvPr>
        </p:nvGraphicFramePr>
        <p:xfrm>
          <a:off x="576001" y="1600200"/>
          <a:ext cx="11006400" cy="4651277"/>
        </p:xfrm>
        <a:graphic>
          <a:graphicData uri="http://schemas.openxmlformats.org/drawingml/2006/chart">
            <c:chart xmlns:c="http://schemas.openxmlformats.org/drawingml/2006/chart" xmlns:r="http://schemas.openxmlformats.org/officeDocument/2006/relationships" r:id="rId3"/>
          </a:graphicData>
        </a:graphic>
      </p:graphicFrame>
      <p:sp>
        <p:nvSpPr>
          <p:cNvPr id="92163" name="Rectangle 3"/>
          <p:cNvSpPr>
            <a:spLocks noGrp="1" noChangeArrowheads="1"/>
          </p:cNvSpPr>
          <p:nvPr>
            <p:ph type="title"/>
          </p:nvPr>
        </p:nvSpPr>
        <p:spPr bwMode="auto">
          <a:xfrm>
            <a:off x="576002" y="428569"/>
            <a:ext cx="9783849" cy="793038"/>
          </a:xfrm>
          <a:noFill/>
          <a:ln>
            <a:miter lim="800000"/>
            <a:headEnd/>
            <a:tailEnd/>
          </a:ln>
        </p:spPr>
        <p:txBody>
          <a:bodyPr vert="horz" wrap="square" lIns="91440" tIns="45720" rIns="91440" bIns="45720" numCol="1" rtlCol="0" anchor="ctr" anchorCtr="0" compatLnSpc="1">
            <a:prstTxWarp prst="textNoShape">
              <a:avLst/>
            </a:prstTxWarp>
            <a:spAutoFit/>
          </a:bodyPr>
          <a:lstStyle/>
          <a:p>
            <a:r>
              <a:rPr lang="en-US" dirty="0"/>
              <a:t>Real RevPAR recovery for CBDs and Top 25 Markets to come after 2024. </a:t>
            </a:r>
          </a:p>
        </p:txBody>
      </p:sp>
      <p:sp>
        <p:nvSpPr>
          <p:cNvPr id="8" name="Text Placeholder 3">
            <a:extLst>
              <a:ext uri="{FF2B5EF4-FFF2-40B4-BE49-F238E27FC236}">
                <a16:creationId xmlns:a16="http://schemas.microsoft.com/office/drawing/2014/main" id="{B4FFE55C-E9A4-4E53-9739-DEFBDE8C20BE}"/>
              </a:ext>
            </a:extLst>
          </p:cNvPr>
          <p:cNvSpPr txBox="1">
            <a:spLocks/>
          </p:cNvSpPr>
          <p:nvPr/>
        </p:nvSpPr>
        <p:spPr>
          <a:xfrm>
            <a:off x="576000" y="1237321"/>
            <a:ext cx="9783851" cy="303340"/>
          </a:xfrm>
          <a:prstGeom prst="rect">
            <a:avLst/>
          </a:prstGeom>
        </p:spPr>
        <p:txBody>
          <a:bodyPr vert="horz" lIns="91440" tIns="45720" rIns="91440" bIns="45720" rtlCol="0" anchor="ctr">
            <a:noAutofit/>
          </a:bodyPr>
          <a:lstStyle>
            <a:lvl1pPr marL="0" indent="0" algn="l" defTabSz="1219170" rtl="0" eaLnBrk="1" latinLnBrk="0" hangingPunct="1">
              <a:lnSpc>
                <a:spcPts val="2667"/>
              </a:lnSpc>
              <a:spcBef>
                <a:spcPct val="20000"/>
              </a:spcBef>
              <a:buFont typeface="Arial" panose="020B0604020202020204" pitchFamily="34" charset="0"/>
              <a:buNone/>
              <a:defRPr sz="2000" kern="1200">
                <a:solidFill>
                  <a:schemeClr val="tx1"/>
                </a:solidFill>
                <a:latin typeface="+mn-lt"/>
                <a:ea typeface="+mn-ea"/>
                <a:cs typeface="Arial" pitchFamily="34" charset="0"/>
              </a:defRPr>
            </a:lvl1pPr>
            <a:lvl2pPr marL="990575" indent="-380990" algn="l" defTabSz="1219170" rtl="0" eaLnBrk="1" latinLnBrk="0" hangingPunct="1">
              <a:spcBef>
                <a:spcPct val="20000"/>
              </a:spcBef>
              <a:buFont typeface="Arial" panose="020B0604020202020204" pitchFamily="34" charset="0"/>
              <a:buChar char="–"/>
              <a:defRPr sz="1400" b="0" kern="1200">
                <a:solidFill>
                  <a:schemeClr val="tx1"/>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1400" b="0" kern="1200">
                <a:solidFill>
                  <a:schemeClr val="tx1"/>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133"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en-GB" dirty="0"/>
              <a:t>U.S. RevPAR forecast by market type, indexed to 2019</a:t>
            </a:r>
          </a:p>
        </p:txBody>
      </p:sp>
      <p:pic>
        <p:nvPicPr>
          <p:cNvPr id="6" name="Picture 5">
            <a:extLst>
              <a:ext uri="{FF2B5EF4-FFF2-40B4-BE49-F238E27FC236}">
                <a16:creationId xmlns:a16="http://schemas.microsoft.com/office/drawing/2014/main" id="{8978B2BB-8CDD-40C0-A405-716C4405127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6001" y="6220609"/>
            <a:ext cx="1373078" cy="419392"/>
          </a:xfrm>
          <a:prstGeom prst="rect">
            <a:avLst/>
          </a:prstGeom>
        </p:spPr>
      </p:pic>
    </p:spTree>
    <p:extLst>
      <p:ext uri="{BB962C8B-B14F-4D97-AF65-F5344CB8AC3E}">
        <p14:creationId xmlns:p14="http://schemas.microsoft.com/office/powerpoint/2010/main" val="1341276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DA15EE6-B3C3-C448-A0C2-0B4B6182C7FD}"/>
              </a:ext>
            </a:extLst>
          </p:cNvPr>
          <p:cNvGrpSpPr/>
          <p:nvPr/>
        </p:nvGrpSpPr>
        <p:grpSpPr>
          <a:xfrm>
            <a:off x="539233" y="726085"/>
            <a:ext cx="3784909" cy="5592987"/>
            <a:chOff x="8704441" y="2571694"/>
            <a:chExt cx="7028256" cy="10385705"/>
          </a:xfrm>
        </p:grpSpPr>
        <p:sp>
          <p:nvSpPr>
            <p:cNvPr id="5" name="Shape 34173">
              <a:extLst>
                <a:ext uri="{FF2B5EF4-FFF2-40B4-BE49-F238E27FC236}">
                  <a16:creationId xmlns:a16="http://schemas.microsoft.com/office/drawing/2014/main" id="{78213AE2-C643-904F-ADAD-963D084075AB}"/>
                </a:ext>
              </a:extLst>
            </p:cNvPr>
            <p:cNvSpPr/>
            <p:nvPr/>
          </p:nvSpPr>
          <p:spPr>
            <a:xfrm>
              <a:off x="8704441" y="4977041"/>
              <a:ext cx="795138" cy="696056"/>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sz="5065" dirty="0">
                <a:latin typeface="Lato Light" panose="020F0502020204030203" pitchFamily="34" charset="0"/>
              </a:endParaRPr>
            </a:p>
          </p:txBody>
        </p:sp>
        <p:sp>
          <p:nvSpPr>
            <p:cNvPr id="6" name="Shape 34174">
              <a:extLst>
                <a:ext uri="{FF2B5EF4-FFF2-40B4-BE49-F238E27FC236}">
                  <a16:creationId xmlns:a16="http://schemas.microsoft.com/office/drawing/2014/main" id="{D8AF0AC3-B567-1941-8317-53F990015AFF}"/>
                </a:ext>
              </a:extLst>
            </p:cNvPr>
            <p:cNvSpPr/>
            <p:nvPr/>
          </p:nvSpPr>
          <p:spPr>
            <a:xfrm>
              <a:off x="13207711" y="5129396"/>
              <a:ext cx="316260" cy="632520"/>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7" name="Shape 34175">
              <a:extLst>
                <a:ext uri="{FF2B5EF4-FFF2-40B4-BE49-F238E27FC236}">
                  <a16:creationId xmlns:a16="http://schemas.microsoft.com/office/drawing/2014/main" id="{D3C242D3-F960-2C44-A453-D37E61978C2B}"/>
                </a:ext>
              </a:extLst>
            </p:cNvPr>
            <p:cNvSpPr/>
            <p:nvPr/>
          </p:nvSpPr>
          <p:spPr>
            <a:xfrm>
              <a:off x="13346915" y="6245061"/>
              <a:ext cx="528722" cy="466192"/>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8" name="Shape 34176">
              <a:extLst>
                <a:ext uri="{FF2B5EF4-FFF2-40B4-BE49-F238E27FC236}">
                  <a16:creationId xmlns:a16="http://schemas.microsoft.com/office/drawing/2014/main" id="{9730DFA3-3687-9A4B-B0D1-93CAB680E44F}"/>
                </a:ext>
              </a:extLst>
            </p:cNvPr>
            <p:cNvSpPr/>
            <p:nvPr/>
          </p:nvSpPr>
          <p:spPr>
            <a:xfrm>
              <a:off x="10903238" y="7779831"/>
              <a:ext cx="984814" cy="885198"/>
            </a:xfrm>
            <a:custGeom>
              <a:avLst/>
              <a:gdLst/>
              <a:ahLst/>
              <a:cxnLst>
                <a:cxn ang="0">
                  <a:pos x="wd2" y="hd2"/>
                </a:cxn>
                <a:cxn ang="5400000">
                  <a:pos x="wd2" y="hd2"/>
                </a:cxn>
                <a:cxn ang="10800000">
                  <a:pos x="wd2" y="hd2"/>
                </a:cxn>
                <a:cxn ang="16200000">
                  <a:pos x="wd2" y="hd2"/>
                </a:cxn>
              </a:cxnLst>
              <a:rect l="0" t="0" r="r" b="b"/>
              <a:pathLst>
                <a:path w="21255" h="21217" extrusionOk="0">
                  <a:moveTo>
                    <a:pt x="16218" y="16859"/>
                  </a:moveTo>
                  <a:lnTo>
                    <a:pt x="3455" y="9002"/>
                  </a:lnTo>
                  <a:lnTo>
                    <a:pt x="7275" y="1347"/>
                  </a:lnTo>
                  <a:lnTo>
                    <a:pt x="20039" y="9205"/>
                  </a:lnTo>
                  <a:cubicBezTo>
                    <a:pt x="20039" y="9205"/>
                    <a:pt x="16218" y="16859"/>
                    <a:pt x="16218" y="16859"/>
                  </a:cubicBezTo>
                  <a:close/>
                  <a:moveTo>
                    <a:pt x="20627" y="8027"/>
                  </a:moveTo>
                  <a:lnTo>
                    <a:pt x="7863" y="170"/>
                  </a:lnTo>
                  <a:cubicBezTo>
                    <a:pt x="7275" y="-192"/>
                    <a:pt x="6536" y="43"/>
                    <a:pt x="6211" y="693"/>
                  </a:cubicBezTo>
                  <a:cubicBezTo>
                    <a:pt x="6211" y="693"/>
                    <a:pt x="1803" y="9525"/>
                    <a:pt x="1814" y="9531"/>
                  </a:cubicBezTo>
                  <a:lnTo>
                    <a:pt x="16683" y="18684"/>
                  </a:lnTo>
                  <a:cubicBezTo>
                    <a:pt x="16694" y="18691"/>
                    <a:pt x="21103" y="9860"/>
                    <a:pt x="21103" y="9860"/>
                  </a:cubicBezTo>
                  <a:cubicBezTo>
                    <a:pt x="21427" y="9210"/>
                    <a:pt x="21214" y="8389"/>
                    <a:pt x="20627" y="8027"/>
                  </a:cubicBezTo>
                  <a:close/>
                  <a:moveTo>
                    <a:pt x="15519" y="21047"/>
                  </a:moveTo>
                  <a:lnTo>
                    <a:pt x="628" y="11880"/>
                  </a:lnTo>
                  <a:cubicBezTo>
                    <a:pt x="40" y="11518"/>
                    <a:pt x="-173" y="10698"/>
                    <a:pt x="152" y="10047"/>
                  </a:cubicBezTo>
                  <a:lnTo>
                    <a:pt x="446" y="9459"/>
                  </a:lnTo>
                  <a:lnTo>
                    <a:pt x="7359" y="13714"/>
                  </a:lnTo>
                  <a:lnTo>
                    <a:pt x="7065" y="14303"/>
                  </a:lnTo>
                  <a:lnTo>
                    <a:pt x="10256" y="16268"/>
                  </a:lnTo>
                  <a:lnTo>
                    <a:pt x="10550" y="15679"/>
                  </a:lnTo>
                  <a:lnTo>
                    <a:pt x="17464" y="19935"/>
                  </a:lnTo>
                  <a:lnTo>
                    <a:pt x="17170" y="20524"/>
                  </a:lnTo>
                  <a:cubicBezTo>
                    <a:pt x="16846" y="21174"/>
                    <a:pt x="16106" y="21408"/>
                    <a:pt x="15519" y="21047"/>
                  </a:cubicBezTo>
                  <a:cubicBezTo>
                    <a:pt x="15519" y="21047"/>
                    <a:pt x="15519" y="21047"/>
                    <a:pt x="15519" y="21047"/>
                  </a:cubicBezTo>
                  <a:close/>
                </a:path>
              </a:pathLst>
            </a:custGeom>
            <a:solidFill>
              <a:srgbClr val="66B7AC"/>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9" name="Shape 34177">
              <a:extLst>
                <a:ext uri="{FF2B5EF4-FFF2-40B4-BE49-F238E27FC236}">
                  <a16:creationId xmlns:a16="http://schemas.microsoft.com/office/drawing/2014/main" id="{1EDBC618-ACD6-FD4E-B803-DA1976BFBC78}"/>
                </a:ext>
              </a:extLst>
            </p:cNvPr>
            <p:cNvSpPr/>
            <p:nvPr/>
          </p:nvSpPr>
          <p:spPr>
            <a:xfrm>
              <a:off x="11708307" y="11472461"/>
              <a:ext cx="584792" cy="503796"/>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10" name="Shape 34178">
              <a:extLst>
                <a:ext uri="{FF2B5EF4-FFF2-40B4-BE49-F238E27FC236}">
                  <a16:creationId xmlns:a16="http://schemas.microsoft.com/office/drawing/2014/main" id="{676F9CAB-9DD4-6343-A38A-F2B05AB1646E}"/>
                </a:ext>
              </a:extLst>
            </p:cNvPr>
            <p:cNvSpPr/>
            <p:nvPr/>
          </p:nvSpPr>
          <p:spPr>
            <a:xfrm>
              <a:off x="14474664" y="3452446"/>
              <a:ext cx="701272" cy="992744"/>
            </a:xfrm>
            <a:custGeom>
              <a:avLst/>
              <a:gdLst/>
              <a:ahLst/>
              <a:cxnLst>
                <a:cxn ang="0">
                  <a:pos x="wd2" y="hd2"/>
                </a:cxn>
                <a:cxn ang="5400000">
                  <a:pos x="wd2" y="hd2"/>
                </a:cxn>
                <a:cxn ang="10800000">
                  <a:pos x="wd2" y="hd2"/>
                </a:cxn>
                <a:cxn ang="16200000">
                  <a:pos x="wd2" y="hd2"/>
                </a:cxn>
              </a:cxnLst>
              <a:rect l="0" t="0" r="r" b="b"/>
              <a:pathLst>
                <a:path w="21183" h="21600" extrusionOk="0">
                  <a:moveTo>
                    <a:pt x="6837" y="0"/>
                  </a:moveTo>
                  <a:lnTo>
                    <a:pt x="6304" y="11896"/>
                  </a:lnTo>
                  <a:lnTo>
                    <a:pt x="10115" y="11984"/>
                  </a:lnTo>
                  <a:lnTo>
                    <a:pt x="10387" y="5819"/>
                  </a:lnTo>
                  <a:cubicBezTo>
                    <a:pt x="10807" y="5990"/>
                    <a:pt x="11286" y="6091"/>
                    <a:pt x="11799" y="6080"/>
                  </a:cubicBezTo>
                  <a:cubicBezTo>
                    <a:pt x="12816" y="6059"/>
                    <a:pt x="13721" y="5638"/>
                    <a:pt x="14293" y="5029"/>
                  </a:cubicBezTo>
                  <a:cubicBezTo>
                    <a:pt x="14344" y="4975"/>
                    <a:pt x="14392" y="4920"/>
                    <a:pt x="14437" y="4864"/>
                  </a:cubicBezTo>
                  <a:cubicBezTo>
                    <a:pt x="15870" y="5413"/>
                    <a:pt x="17048" y="6141"/>
                    <a:pt x="17879" y="7040"/>
                  </a:cubicBezTo>
                  <a:cubicBezTo>
                    <a:pt x="19250" y="8523"/>
                    <a:pt x="19623" y="10355"/>
                    <a:pt x="18956" y="12341"/>
                  </a:cubicBezTo>
                  <a:cubicBezTo>
                    <a:pt x="17917" y="15436"/>
                    <a:pt x="14349" y="17736"/>
                    <a:pt x="10109" y="18168"/>
                  </a:cubicBezTo>
                  <a:lnTo>
                    <a:pt x="10109" y="16337"/>
                  </a:lnTo>
                  <a:lnTo>
                    <a:pt x="12811" y="16337"/>
                  </a:lnTo>
                  <a:lnTo>
                    <a:pt x="12811" y="15424"/>
                  </a:lnTo>
                  <a:lnTo>
                    <a:pt x="2958" y="15424"/>
                  </a:lnTo>
                  <a:lnTo>
                    <a:pt x="2958" y="16337"/>
                  </a:lnTo>
                  <a:lnTo>
                    <a:pt x="5665" y="16337"/>
                  </a:lnTo>
                  <a:lnTo>
                    <a:pt x="5665" y="19312"/>
                  </a:lnTo>
                  <a:lnTo>
                    <a:pt x="0" y="19312"/>
                  </a:lnTo>
                  <a:lnTo>
                    <a:pt x="0" y="21600"/>
                  </a:lnTo>
                  <a:lnTo>
                    <a:pt x="15769" y="21600"/>
                  </a:lnTo>
                  <a:lnTo>
                    <a:pt x="15769" y="19312"/>
                  </a:lnTo>
                  <a:lnTo>
                    <a:pt x="11820" y="19312"/>
                  </a:lnTo>
                  <a:cubicBezTo>
                    <a:pt x="16159" y="18468"/>
                    <a:pt x="19703" y="15947"/>
                    <a:pt x="20805" y="12664"/>
                  </a:cubicBezTo>
                  <a:cubicBezTo>
                    <a:pt x="21600" y="10296"/>
                    <a:pt x="21135" y="8089"/>
                    <a:pt x="19462" y="6280"/>
                  </a:cubicBezTo>
                  <a:cubicBezTo>
                    <a:pt x="18352" y="5079"/>
                    <a:pt x="16769" y="4131"/>
                    <a:pt x="14820" y="3462"/>
                  </a:cubicBezTo>
                  <a:cubicBezTo>
                    <a:pt x="14558" y="2431"/>
                    <a:pt x="13305" y="1647"/>
                    <a:pt x="11799" y="1647"/>
                  </a:cubicBezTo>
                  <a:cubicBezTo>
                    <a:pt x="11359" y="1647"/>
                    <a:pt x="10947" y="1715"/>
                    <a:pt x="10568" y="1835"/>
                  </a:cubicBezTo>
                  <a:lnTo>
                    <a:pt x="10642" y="88"/>
                  </a:lnTo>
                  <a:lnTo>
                    <a:pt x="6837" y="0"/>
                  </a:lnTo>
                  <a:close/>
                  <a:moveTo>
                    <a:pt x="11799" y="3017"/>
                  </a:moveTo>
                  <a:cubicBezTo>
                    <a:pt x="12376" y="3012"/>
                    <a:pt x="12879" y="3300"/>
                    <a:pt x="12982" y="3708"/>
                  </a:cubicBezTo>
                  <a:cubicBezTo>
                    <a:pt x="13088" y="4130"/>
                    <a:pt x="12736" y="4539"/>
                    <a:pt x="12167" y="4660"/>
                  </a:cubicBezTo>
                  <a:cubicBezTo>
                    <a:pt x="12051" y="4688"/>
                    <a:pt x="11928" y="4706"/>
                    <a:pt x="11799" y="4706"/>
                  </a:cubicBezTo>
                  <a:cubicBezTo>
                    <a:pt x="11152" y="4706"/>
                    <a:pt x="10625" y="4326"/>
                    <a:pt x="10626" y="3862"/>
                  </a:cubicBezTo>
                  <a:cubicBezTo>
                    <a:pt x="10628" y="3397"/>
                    <a:pt x="11153" y="3023"/>
                    <a:pt x="11799" y="3017"/>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sz="5065" dirty="0">
                <a:latin typeface="Lato Light" panose="020F0502020204030203" pitchFamily="34" charset="0"/>
              </a:endParaRPr>
            </a:p>
          </p:txBody>
        </p:sp>
        <p:sp>
          <p:nvSpPr>
            <p:cNvPr id="11" name="Shape 34179">
              <a:extLst>
                <a:ext uri="{FF2B5EF4-FFF2-40B4-BE49-F238E27FC236}">
                  <a16:creationId xmlns:a16="http://schemas.microsoft.com/office/drawing/2014/main" id="{128839EE-F95F-954E-A8E6-CDD354D06157}"/>
                </a:ext>
              </a:extLst>
            </p:cNvPr>
            <p:cNvSpPr/>
            <p:nvPr/>
          </p:nvSpPr>
          <p:spPr>
            <a:xfrm>
              <a:off x="13573878" y="4409128"/>
              <a:ext cx="1096094" cy="1213368"/>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12" name="Shape 34180">
              <a:extLst>
                <a:ext uri="{FF2B5EF4-FFF2-40B4-BE49-F238E27FC236}">
                  <a16:creationId xmlns:a16="http://schemas.microsoft.com/office/drawing/2014/main" id="{78DC3AC3-3759-CC41-8024-58DA57FCB2C9}"/>
                </a:ext>
              </a:extLst>
            </p:cNvPr>
            <p:cNvSpPr/>
            <p:nvPr/>
          </p:nvSpPr>
          <p:spPr>
            <a:xfrm>
              <a:off x="12366664" y="11330119"/>
              <a:ext cx="843804" cy="992744"/>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tx2"/>
            </a:solidFill>
            <a:ln w="12700" cap="flat">
              <a:noFill/>
              <a:miter lim="400000"/>
            </a:ln>
            <a:effectLst/>
          </p:spPr>
          <p:txBody>
            <a:bodyPr wrap="square" lIns="0" tIns="0" rIns="0" bIns="0" numCol="1" anchor="t">
              <a:noAutofit/>
            </a:bodyPr>
            <a:lstStyle/>
            <a:p>
              <a:endParaRPr sz="5065" dirty="0">
                <a:latin typeface="Lato Light" panose="020F0502020204030203" pitchFamily="34" charset="0"/>
              </a:endParaRPr>
            </a:p>
          </p:txBody>
        </p:sp>
        <p:sp>
          <p:nvSpPr>
            <p:cNvPr id="13" name="Shape 34181">
              <a:extLst>
                <a:ext uri="{FF2B5EF4-FFF2-40B4-BE49-F238E27FC236}">
                  <a16:creationId xmlns:a16="http://schemas.microsoft.com/office/drawing/2014/main" id="{D6F971B0-A287-A74A-8DDE-5A361FDD4E30}"/>
                </a:ext>
              </a:extLst>
            </p:cNvPr>
            <p:cNvSpPr/>
            <p:nvPr/>
          </p:nvSpPr>
          <p:spPr>
            <a:xfrm>
              <a:off x="14244181" y="7303221"/>
              <a:ext cx="622050" cy="54107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097" y="15438"/>
                  </a:lnTo>
                  <a:lnTo>
                    <a:pt x="5592" y="20234"/>
                  </a:lnTo>
                  <a:cubicBezTo>
                    <a:pt x="5592" y="20234"/>
                    <a:pt x="0" y="21600"/>
                    <a:pt x="0" y="21600"/>
                  </a:cubicBezTo>
                  <a:close/>
                  <a:moveTo>
                    <a:pt x="6275" y="19576"/>
                  </a:moveTo>
                  <a:lnTo>
                    <a:pt x="2779" y="14780"/>
                  </a:lnTo>
                  <a:lnTo>
                    <a:pt x="14944" y="3046"/>
                  </a:lnTo>
                  <a:lnTo>
                    <a:pt x="18443" y="7840"/>
                  </a:lnTo>
                  <a:cubicBezTo>
                    <a:pt x="18443" y="7840"/>
                    <a:pt x="6275" y="19576"/>
                    <a:pt x="6275" y="19576"/>
                  </a:cubicBezTo>
                  <a:close/>
                  <a:moveTo>
                    <a:pt x="19138" y="7167"/>
                  </a:moveTo>
                  <a:lnTo>
                    <a:pt x="15640" y="2373"/>
                  </a:lnTo>
                  <a:lnTo>
                    <a:pt x="18101" y="0"/>
                  </a:lnTo>
                  <a:lnTo>
                    <a:pt x="21600" y="4794"/>
                  </a:lnTo>
                  <a:cubicBezTo>
                    <a:pt x="21600" y="4794"/>
                    <a:pt x="19138" y="7167"/>
                    <a:pt x="19138" y="716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14" name="Shape 34182">
              <a:extLst>
                <a:ext uri="{FF2B5EF4-FFF2-40B4-BE49-F238E27FC236}">
                  <a16:creationId xmlns:a16="http://schemas.microsoft.com/office/drawing/2014/main" id="{7FB34513-D6DF-E14E-B765-C100A8A8CEA5}"/>
                </a:ext>
              </a:extLst>
            </p:cNvPr>
            <p:cNvSpPr/>
            <p:nvPr/>
          </p:nvSpPr>
          <p:spPr>
            <a:xfrm>
              <a:off x="13576635" y="6759701"/>
              <a:ext cx="580114" cy="809692"/>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15" name="Shape 34183">
              <a:extLst>
                <a:ext uri="{FF2B5EF4-FFF2-40B4-BE49-F238E27FC236}">
                  <a16:creationId xmlns:a16="http://schemas.microsoft.com/office/drawing/2014/main" id="{9BD40552-85F7-0246-A31D-D966EADEF4EF}"/>
                </a:ext>
              </a:extLst>
            </p:cNvPr>
            <p:cNvSpPr/>
            <p:nvPr/>
          </p:nvSpPr>
          <p:spPr>
            <a:xfrm>
              <a:off x="11615391" y="7089790"/>
              <a:ext cx="617918" cy="684030"/>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16" name="Shape 34184">
              <a:extLst>
                <a:ext uri="{FF2B5EF4-FFF2-40B4-BE49-F238E27FC236}">
                  <a16:creationId xmlns:a16="http://schemas.microsoft.com/office/drawing/2014/main" id="{CADAF4AD-E858-1D4A-88FD-3B35E998DF98}"/>
                </a:ext>
              </a:extLst>
            </p:cNvPr>
            <p:cNvSpPr/>
            <p:nvPr/>
          </p:nvSpPr>
          <p:spPr>
            <a:xfrm>
              <a:off x="13088735" y="3291417"/>
              <a:ext cx="651942" cy="595766"/>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17" name="Shape 34185">
              <a:extLst>
                <a:ext uri="{FF2B5EF4-FFF2-40B4-BE49-F238E27FC236}">
                  <a16:creationId xmlns:a16="http://schemas.microsoft.com/office/drawing/2014/main" id="{934A723F-BC07-1749-B0F1-B5E60D6CEA35}"/>
                </a:ext>
              </a:extLst>
            </p:cNvPr>
            <p:cNvSpPr/>
            <p:nvPr/>
          </p:nvSpPr>
          <p:spPr>
            <a:xfrm>
              <a:off x="12303465" y="7118398"/>
              <a:ext cx="457434" cy="615446"/>
            </a:xfrm>
            <a:custGeom>
              <a:avLst/>
              <a:gdLst/>
              <a:ahLst/>
              <a:cxnLst>
                <a:cxn ang="0">
                  <a:pos x="wd2" y="hd2"/>
                </a:cxn>
                <a:cxn ang="5400000">
                  <a:pos x="wd2" y="hd2"/>
                </a:cxn>
                <a:cxn ang="10800000">
                  <a:pos x="wd2" y="hd2"/>
                </a:cxn>
                <a:cxn ang="16200000">
                  <a:pos x="wd2" y="hd2"/>
                </a:cxn>
              </a:cxnLst>
              <a:rect l="0" t="0" r="r" b="b"/>
              <a:pathLst>
                <a:path w="21600" h="21600" extrusionOk="0">
                  <a:moveTo>
                    <a:pt x="0" y="1289"/>
                  </a:moveTo>
                  <a:lnTo>
                    <a:pt x="7526" y="11318"/>
                  </a:lnTo>
                  <a:lnTo>
                    <a:pt x="10639" y="10027"/>
                  </a:lnTo>
                  <a:lnTo>
                    <a:pt x="6735" y="4831"/>
                  </a:lnTo>
                  <a:cubicBezTo>
                    <a:pt x="7186" y="4822"/>
                    <a:pt x="7638" y="4734"/>
                    <a:pt x="8042" y="4542"/>
                  </a:cubicBezTo>
                  <a:cubicBezTo>
                    <a:pt x="8843" y="4160"/>
                    <a:pt x="9286" y="3488"/>
                    <a:pt x="9338" y="2779"/>
                  </a:cubicBezTo>
                  <a:cubicBezTo>
                    <a:pt x="9343" y="2717"/>
                    <a:pt x="9344" y="2654"/>
                    <a:pt x="9343" y="2591"/>
                  </a:cubicBezTo>
                  <a:cubicBezTo>
                    <a:pt x="10859" y="2532"/>
                    <a:pt x="12290" y="2713"/>
                    <a:pt x="13557" y="3159"/>
                  </a:cubicBezTo>
                  <a:cubicBezTo>
                    <a:pt x="15647" y="3894"/>
                    <a:pt x="17171" y="5277"/>
                    <a:pt x="17964" y="7158"/>
                  </a:cubicBezTo>
                  <a:cubicBezTo>
                    <a:pt x="19200" y="10089"/>
                    <a:pt x="17878" y="13269"/>
                    <a:pt x="14770" y="15143"/>
                  </a:cubicBezTo>
                  <a:lnTo>
                    <a:pt x="13545" y="13629"/>
                  </a:lnTo>
                  <a:lnTo>
                    <a:pt x="15711" y="12662"/>
                  </a:lnTo>
                  <a:lnTo>
                    <a:pt x="15100" y="11906"/>
                  </a:lnTo>
                  <a:lnTo>
                    <a:pt x="7202" y="15433"/>
                  </a:lnTo>
                  <a:lnTo>
                    <a:pt x="7813" y="16189"/>
                  </a:lnTo>
                  <a:lnTo>
                    <a:pt x="9983" y="15220"/>
                  </a:lnTo>
                  <a:lnTo>
                    <a:pt x="11972" y="17680"/>
                  </a:lnTo>
                  <a:lnTo>
                    <a:pt x="7432" y="19708"/>
                  </a:lnTo>
                  <a:lnTo>
                    <a:pt x="8961" y="21600"/>
                  </a:lnTo>
                  <a:lnTo>
                    <a:pt x="21600" y="15956"/>
                  </a:lnTo>
                  <a:lnTo>
                    <a:pt x="20070" y="14064"/>
                  </a:lnTo>
                  <a:lnTo>
                    <a:pt x="16905" y="15477"/>
                  </a:lnTo>
                  <a:cubicBezTo>
                    <a:pt x="19819" y="13226"/>
                    <a:pt x="20973" y="9873"/>
                    <a:pt x="19662" y="6762"/>
                  </a:cubicBezTo>
                  <a:cubicBezTo>
                    <a:pt x="18716" y="4520"/>
                    <a:pt x="16868" y="2861"/>
                    <a:pt x="14317" y="1964"/>
                  </a:cubicBezTo>
                  <a:cubicBezTo>
                    <a:pt x="12625" y="1368"/>
                    <a:pt x="10722" y="1151"/>
                    <a:pt x="8713" y="1295"/>
                  </a:cubicBezTo>
                  <a:cubicBezTo>
                    <a:pt x="7813" y="536"/>
                    <a:pt x="6285" y="336"/>
                    <a:pt x="5078" y="875"/>
                  </a:cubicBezTo>
                  <a:cubicBezTo>
                    <a:pt x="4725" y="1032"/>
                    <a:pt x="4440" y="1236"/>
                    <a:pt x="4217" y="1471"/>
                  </a:cubicBezTo>
                  <a:lnTo>
                    <a:pt x="3109" y="0"/>
                  </a:lnTo>
                  <a:lnTo>
                    <a:pt x="0" y="1289"/>
                  </a:lnTo>
                  <a:close/>
                  <a:moveTo>
                    <a:pt x="5994" y="2008"/>
                  </a:moveTo>
                  <a:cubicBezTo>
                    <a:pt x="6453" y="1798"/>
                    <a:pt x="7049" y="1856"/>
                    <a:pt x="7404" y="2156"/>
                  </a:cubicBezTo>
                  <a:cubicBezTo>
                    <a:pt x="7771" y="2467"/>
                    <a:pt x="7762" y="2932"/>
                    <a:pt x="7387" y="3235"/>
                  </a:cubicBezTo>
                  <a:cubicBezTo>
                    <a:pt x="7313" y="3300"/>
                    <a:pt x="7226" y="3359"/>
                    <a:pt x="7123" y="3405"/>
                  </a:cubicBezTo>
                  <a:cubicBezTo>
                    <a:pt x="6605" y="3637"/>
                    <a:pt x="5928" y="3511"/>
                    <a:pt x="5619" y="3126"/>
                  </a:cubicBezTo>
                  <a:cubicBezTo>
                    <a:pt x="5309" y="2742"/>
                    <a:pt x="5480" y="2244"/>
                    <a:pt x="5994" y="20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18" name="Shape 34186">
              <a:extLst>
                <a:ext uri="{FF2B5EF4-FFF2-40B4-BE49-F238E27FC236}">
                  <a16:creationId xmlns:a16="http://schemas.microsoft.com/office/drawing/2014/main" id="{6F2D5E1F-9BE5-9F40-BAF2-8AFCE0301916}"/>
                </a:ext>
              </a:extLst>
            </p:cNvPr>
            <p:cNvSpPr/>
            <p:nvPr/>
          </p:nvSpPr>
          <p:spPr>
            <a:xfrm>
              <a:off x="10902474" y="3745209"/>
              <a:ext cx="602468" cy="782846"/>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19" name="Shape 34187">
              <a:extLst>
                <a:ext uri="{FF2B5EF4-FFF2-40B4-BE49-F238E27FC236}">
                  <a16:creationId xmlns:a16="http://schemas.microsoft.com/office/drawing/2014/main" id="{B8EE6727-6B80-E74F-AC14-96ED1D3B1033}"/>
                </a:ext>
              </a:extLst>
            </p:cNvPr>
            <p:cNvSpPr/>
            <p:nvPr/>
          </p:nvSpPr>
          <p:spPr>
            <a:xfrm>
              <a:off x="9646332" y="5299667"/>
              <a:ext cx="648460" cy="459644"/>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20" name="Shape 34188">
              <a:extLst>
                <a:ext uri="{FF2B5EF4-FFF2-40B4-BE49-F238E27FC236}">
                  <a16:creationId xmlns:a16="http://schemas.microsoft.com/office/drawing/2014/main" id="{F578A782-544C-C747-BA4D-D9C574F2864D}"/>
                </a:ext>
              </a:extLst>
            </p:cNvPr>
            <p:cNvSpPr/>
            <p:nvPr/>
          </p:nvSpPr>
          <p:spPr>
            <a:xfrm>
              <a:off x="14782759" y="5213711"/>
              <a:ext cx="949938" cy="458576"/>
            </a:xfrm>
            <a:custGeom>
              <a:avLst/>
              <a:gdLst/>
              <a:ahLst/>
              <a:cxnLst>
                <a:cxn ang="0">
                  <a:pos x="wd2" y="hd2"/>
                </a:cxn>
                <a:cxn ang="5400000">
                  <a:pos x="wd2" y="hd2"/>
                </a:cxn>
                <a:cxn ang="10800000">
                  <a:pos x="wd2" y="hd2"/>
                </a:cxn>
                <a:cxn ang="16200000">
                  <a:pos x="wd2" y="hd2"/>
                </a:cxn>
              </a:cxnLst>
              <a:rect l="0" t="0" r="r" b="b"/>
              <a:pathLst>
                <a:path w="21600" h="21600" extrusionOk="0">
                  <a:moveTo>
                    <a:pt x="470" y="21600"/>
                  </a:moveTo>
                  <a:cubicBezTo>
                    <a:pt x="3196" y="21301"/>
                    <a:pt x="4520" y="17446"/>
                    <a:pt x="5606" y="13579"/>
                  </a:cubicBezTo>
                  <a:cubicBezTo>
                    <a:pt x="6868" y="17109"/>
                    <a:pt x="8385" y="20522"/>
                    <a:pt x="11056" y="20229"/>
                  </a:cubicBezTo>
                  <a:cubicBezTo>
                    <a:pt x="13700" y="19938"/>
                    <a:pt x="15043" y="16273"/>
                    <a:pt x="16113" y="12527"/>
                  </a:cubicBezTo>
                  <a:cubicBezTo>
                    <a:pt x="17383" y="16099"/>
                    <a:pt x="18898" y="19587"/>
                    <a:pt x="21600" y="19290"/>
                  </a:cubicBezTo>
                  <a:lnTo>
                    <a:pt x="21545" y="16807"/>
                  </a:lnTo>
                  <a:cubicBezTo>
                    <a:pt x="19258" y="17058"/>
                    <a:pt x="18061" y="13947"/>
                    <a:pt x="16772" y="10222"/>
                  </a:cubicBezTo>
                  <a:cubicBezTo>
                    <a:pt x="17878" y="6171"/>
                    <a:pt x="18899" y="2735"/>
                    <a:pt x="21214" y="2481"/>
                  </a:cubicBezTo>
                  <a:lnTo>
                    <a:pt x="21142" y="0"/>
                  </a:lnTo>
                  <a:cubicBezTo>
                    <a:pt x="18416" y="300"/>
                    <a:pt x="17080" y="4165"/>
                    <a:pt x="15994" y="8031"/>
                  </a:cubicBezTo>
                  <a:cubicBezTo>
                    <a:pt x="14732" y="4504"/>
                    <a:pt x="13210" y="1123"/>
                    <a:pt x="10541" y="1416"/>
                  </a:cubicBezTo>
                  <a:cubicBezTo>
                    <a:pt x="7892" y="1708"/>
                    <a:pt x="6571" y="5362"/>
                    <a:pt x="5501" y="9116"/>
                  </a:cubicBezTo>
                  <a:cubicBezTo>
                    <a:pt x="4229" y="5537"/>
                    <a:pt x="2706" y="2023"/>
                    <a:pt x="0" y="2320"/>
                  </a:cubicBezTo>
                  <a:cubicBezTo>
                    <a:pt x="0" y="2320"/>
                    <a:pt x="67" y="4802"/>
                    <a:pt x="67" y="4802"/>
                  </a:cubicBezTo>
                  <a:cubicBezTo>
                    <a:pt x="2361" y="4550"/>
                    <a:pt x="3548" y="7681"/>
                    <a:pt x="4841" y="11421"/>
                  </a:cubicBezTo>
                  <a:cubicBezTo>
                    <a:pt x="3737" y="15462"/>
                    <a:pt x="2709" y="18874"/>
                    <a:pt x="399" y="19128"/>
                  </a:cubicBezTo>
                  <a:lnTo>
                    <a:pt x="470" y="21600"/>
                  </a:lnTo>
                  <a:close/>
                  <a:moveTo>
                    <a:pt x="571" y="17516"/>
                  </a:moveTo>
                  <a:cubicBezTo>
                    <a:pt x="973" y="17463"/>
                    <a:pt x="1323" y="17289"/>
                    <a:pt x="1641" y="17020"/>
                  </a:cubicBezTo>
                  <a:cubicBezTo>
                    <a:pt x="1641" y="17020"/>
                    <a:pt x="1387" y="6572"/>
                    <a:pt x="1387" y="6572"/>
                  </a:cubicBezTo>
                  <a:cubicBezTo>
                    <a:pt x="1058" y="6378"/>
                    <a:pt x="699" y="6290"/>
                    <a:pt x="296" y="6330"/>
                  </a:cubicBezTo>
                  <a:lnTo>
                    <a:pt x="571" y="17516"/>
                  </a:lnTo>
                  <a:close/>
                  <a:moveTo>
                    <a:pt x="2649" y="15637"/>
                  </a:moveTo>
                  <a:cubicBezTo>
                    <a:pt x="3008" y="15009"/>
                    <a:pt x="3317" y="14212"/>
                    <a:pt x="3611" y="13297"/>
                  </a:cubicBezTo>
                  <a:lnTo>
                    <a:pt x="3530" y="9777"/>
                  </a:lnTo>
                  <a:cubicBezTo>
                    <a:pt x="3194" y="8935"/>
                    <a:pt x="2849" y="8211"/>
                    <a:pt x="2462" y="7671"/>
                  </a:cubicBezTo>
                  <a:lnTo>
                    <a:pt x="2649" y="15637"/>
                  </a:lnTo>
                  <a:close/>
                  <a:moveTo>
                    <a:pt x="6265" y="11274"/>
                  </a:moveTo>
                  <a:cubicBezTo>
                    <a:pt x="7335" y="7383"/>
                    <a:pt x="8366" y="4144"/>
                    <a:pt x="10612" y="3897"/>
                  </a:cubicBezTo>
                  <a:cubicBezTo>
                    <a:pt x="12876" y="3648"/>
                    <a:pt x="14062" y="6687"/>
                    <a:pt x="15336" y="10361"/>
                  </a:cubicBezTo>
                  <a:cubicBezTo>
                    <a:pt x="14269" y="14240"/>
                    <a:pt x="13242" y="17500"/>
                    <a:pt x="11001" y="17746"/>
                  </a:cubicBezTo>
                  <a:cubicBezTo>
                    <a:pt x="8738" y="17995"/>
                    <a:pt x="7539" y="14948"/>
                    <a:pt x="6265" y="11274"/>
                  </a:cubicBezTo>
                  <a:close/>
                  <a:moveTo>
                    <a:pt x="8019" y="13315"/>
                  </a:moveTo>
                  <a:cubicBezTo>
                    <a:pt x="8416" y="14295"/>
                    <a:pt x="8827" y="15128"/>
                    <a:pt x="9287" y="15750"/>
                  </a:cubicBezTo>
                  <a:lnTo>
                    <a:pt x="9038" y="6172"/>
                  </a:lnTo>
                  <a:cubicBezTo>
                    <a:pt x="8613" y="6892"/>
                    <a:pt x="8251" y="7817"/>
                    <a:pt x="7906" y="8878"/>
                  </a:cubicBezTo>
                  <a:lnTo>
                    <a:pt x="8019" y="13315"/>
                  </a:lnTo>
                  <a:close/>
                  <a:moveTo>
                    <a:pt x="10389" y="16077"/>
                  </a:moveTo>
                  <a:cubicBezTo>
                    <a:pt x="10611" y="16140"/>
                    <a:pt x="10842" y="16161"/>
                    <a:pt x="11095" y="16128"/>
                  </a:cubicBezTo>
                  <a:cubicBezTo>
                    <a:pt x="11223" y="16112"/>
                    <a:pt x="11344" y="16080"/>
                    <a:pt x="11463" y="16041"/>
                  </a:cubicBezTo>
                  <a:lnTo>
                    <a:pt x="11227" y="5045"/>
                  </a:lnTo>
                  <a:cubicBezTo>
                    <a:pt x="11108" y="5036"/>
                    <a:pt x="10985" y="5039"/>
                    <a:pt x="10857" y="5056"/>
                  </a:cubicBezTo>
                  <a:cubicBezTo>
                    <a:pt x="10605" y="5088"/>
                    <a:pt x="10374" y="5166"/>
                    <a:pt x="10157" y="5285"/>
                  </a:cubicBezTo>
                  <a:lnTo>
                    <a:pt x="10389" y="16077"/>
                  </a:lnTo>
                  <a:close/>
                  <a:moveTo>
                    <a:pt x="12594" y="15655"/>
                  </a:moveTo>
                  <a:cubicBezTo>
                    <a:pt x="12999" y="15123"/>
                    <a:pt x="13343" y="14414"/>
                    <a:pt x="13661" y="13573"/>
                  </a:cubicBezTo>
                  <a:lnTo>
                    <a:pt x="13528" y="7680"/>
                  </a:lnTo>
                  <a:cubicBezTo>
                    <a:pt x="13173" y="6920"/>
                    <a:pt x="12798" y="6300"/>
                    <a:pt x="12371" y="5869"/>
                  </a:cubicBezTo>
                  <a:lnTo>
                    <a:pt x="12594" y="15655"/>
                  </a:lnTo>
                  <a:close/>
                  <a:moveTo>
                    <a:pt x="18081" y="11798"/>
                  </a:moveTo>
                  <a:cubicBezTo>
                    <a:pt x="18416" y="12578"/>
                    <a:pt x="18758" y="13235"/>
                    <a:pt x="19139" y="13718"/>
                  </a:cubicBezTo>
                  <a:lnTo>
                    <a:pt x="18884" y="6051"/>
                  </a:lnTo>
                  <a:cubicBezTo>
                    <a:pt x="18541" y="6694"/>
                    <a:pt x="18245" y="7495"/>
                    <a:pt x="17967" y="8411"/>
                  </a:cubicBezTo>
                  <a:lnTo>
                    <a:pt x="18081" y="11798"/>
                  </a:lnTo>
                  <a:close/>
                  <a:moveTo>
                    <a:pt x="20486" y="14708"/>
                  </a:moveTo>
                  <a:cubicBezTo>
                    <a:pt x="20804" y="14878"/>
                    <a:pt x="21150" y="14947"/>
                    <a:pt x="21538" y="14889"/>
                  </a:cubicBezTo>
                  <a:lnTo>
                    <a:pt x="21229" y="4150"/>
                  </a:lnTo>
                  <a:cubicBezTo>
                    <a:pt x="20842" y="4223"/>
                    <a:pt x="20502" y="4409"/>
                    <a:pt x="20197" y="4684"/>
                  </a:cubicBezTo>
                  <a:cubicBezTo>
                    <a:pt x="20197" y="4684"/>
                    <a:pt x="20486" y="14708"/>
                    <a:pt x="20486" y="147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21" name="Shape 34189">
              <a:extLst>
                <a:ext uri="{FF2B5EF4-FFF2-40B4-BE49-F238E27FC236}">
                  <a16:creationId xmlns:a16="http://schemas.microsoft.com/office/drawing/2014/main" id="{BDCC7109-BF97-5045-B15F-738421239A15}"/>
                </a:ext>
              </a:extLst>
            </p:cNvPr>
            <p:cNvSpPr/>
            <p:nvPr/>
          </p:nvSpPr>
          <p:spPr>
            <a:xfrm>
              <a:off x="12966315" y="3935732"/>
              <a:ext cx="606684" cy="86747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22" name="Shape 34190">
              <a:extLst>
                <a:ext uri="{FF2B5EF4-FFF2-40B4-BE49-F238E27FC236}">
                  <a16:creationId xmlns:a16="http://schemas.microsoft.com/office/drawing/2014/main" id="{DE2F2E82-F90C-1F4F-8C47-68E294D6EA56}"/>
                </a:ext>
              </a:extLst>
            </p:cNvPr>
            <p:cNvSpPr/>
            <p:nvPr/>
          </p:nvSpPr>
          <p:spPr>
            <a:xfrm>
              <a:off x="8736613" y="4207504"/>
              <a:ext cx="967678" cy="820704"/>
            </a:xfrm>
            <a:custGeom>
              <a:avLst/>
              <a:gdLst/>
              <a:ahLst/>
              <a:cxnLst>
                <a:cxn ang="0">
                  <a:pos x="wd2" y="hd2"/>
                </a:cxn>
                <a:cxn ang="5400000">
                  <a:pos x="wd2" y="hd2"/>
                </a:cxn>
                <a:cxn ang="10800000">
                  <a:pos x="wd2" y="hd2"/>
                </a:cxn>
                <a:cxn ang="16200000">
                  <a:pos x="wd2" y="hd2"/>
                </a:cxn>
              </a:cxnLst>
              <a:rect l="0" t="0" r="r" b="b"/>
              <a:pathLst>
                <a:path w="21275" h="21218" extrusionOk="0">
                  <a:moveTo>
                    <a:pt x="17160" y="16531"/>
                  </a:moveTo>
                  <a:lnTo>
                    <a:pt x="3281" y="10266"/>
                  </a:lnTo>
                  <a:lnTo>
                    <a:pt x="6158" y="1453"/>
                  </a:lnTo>
                  <a:lnTo>
                    <a:pt x="20037" y="7718"/>
                  </a:lnTo>
                  <a:cubicBezTo>
                    <a:pt x="20037" y="7718"/>
                    <a:pt x="17160" y="16531"/>
                    <a:pt x="17160" y="16531"/>
                  </a:cubicBezTo>
                  <a:close/>
                  <a:moveTo>
                    <a:pt x="20480" y="6363"/>
                  </a:moveTo>
                  <a:lnTo>
                    <a:pt x="6600" y="98"/>
                  </a:lnTo>
                  <a:cubicBezTo>
                    <a:pt x="5961" y="-191"/>
                    <a:pt x="5246" y="183"/>
                    <a:pt x="5001" y="931"/>
                  </a:cubicBezTo>
                  <a:cubicBezTo>
                    <a:pt x="5001" y="931"/>
                    <a:pt x="1682" y="11100"/>
                    <a:pt x="1694" y="11105"/>
                  </a:cubicBezTo>
                  <a:lnTo>
                    <a:pt x="17862" y="18403"/>
                  </a:lnTo>
                  <a:cubicBezTo>
                    <a:pt x="17874" y="18409"/>
                    <a:pt x="21194" y="8240"/>
                    <a:pt x="21194" y="8240"/>
                  </a:cubicBezTo>
                  <a:cubicBezTo>
                    <a:pt x="21438" y="7492"/>
                    <a:pt x="21118" y="6651"/>
                    <a:pt x="20480" y="6363"/>
                  </a:cubicBezTo>
                  <a:close/>
                  <a:moveTo>
                    <a:pt x="16989" y="21121"/>
                  </a:moveTo>
                  <a:lnTo>
                    <a:pt x="797" y="13812"/>
                  </a:lnTo>
                  <a:cubicBezTo>
                    <a:pt x="157" y="13523"/>
                    <a:pt x="-162" y="12683"/>
                    <a:pt x="83" y="11934"/>
                  </a:cubicBezTo>
                  <a:lnTo>
                    <a:pt x="304" y="11256"/>
                  </a:lnTo>
                  <a:lnTo>
                    <a:pt x="7822" y="14649"/>
                  </a:lnTo>
                  <a:lnTo>
                    <a:pt x="7600" y="15327"/>
                  </a:lnTo>
                  <a:lnTo>
                    <a:pt x="11070" y="16893"/>
                  </a:lnTo>
                  <a:lnTo>
                    <a:pt x="11291" y="16216"/>
                  </a:lnTo>
                  <a:lnTo>
                    <a:pt x="18810" y="19609"/>
                  </a:lnTo>
                  <a:lnTo>
                    <a:pt x="18588" y="20287"/>
                  </a:lnTo>
                  <a:cubicBezTo>
                    <a:pt x="18344" y="21036"/>
                    <a:pt x="17627" y="21409"/>
                    <a:pt x="16989" y="21121"/>
                  </a:cubicBezTo>
                  <a:cubicBezTo>
                    <a:pt x="16989" y="21121"/>
                    <a:pt x="16989" y="21121"/>
                    <a:pt x="16989" y="2112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23" name="Shape 34191">
              <a:extLst>
                <a:ext uri="{FF2B5EF4-FFF2-40B4-BE49-F238E27FC236}">
                  <a16:creationId xmlns:a16="http://schemas.microsoft.com/office/drawing/2014/main" id="{97F1CF99-C57E-F846-9645-06312DEC1CE5}"/>
                </a:ext>
              </a:extLst>
            </p:cNvPr>
            <p:cNvSpPr/>
            <p:nvPr/>
          </p:nvSpPr>
          <p:spPr>
            <a:xfrm>
              <a:off x="12884222" y="7775447"/>
              <a:ext cx="606686" cy="86747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24" name="Shape 34192">
              <a:extLst>
                <a:ext uri="{FF2B5EF4-FFF2-40B4-BE49-F238E27FC236}">
                  <a16:creationId xmlns:a16="http://schemas.microsoft.com/office/drawing/2014/main" id="{2BD1F89E-1EAB-CF4B-939F-19EF3624E7CB}"/>
                </a:ext>
              </a:extLst>
            </p:cNvPr>
            <p:cNvSpPr/>
            <p:nvPr/>
          </p:nvSpPr>
          <p:spPr>
            <a:xfrm>
              <a:off x="9950402" y="3061775"/>
              <a:ext cx="885232" cy="1041484"/>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25" name="Shape 34193">
              <a:extLst>
                <a:ext uri="{FF2B5EF4-FFF2-40B4-BE49-F238E27FC236}">
                  <a16:creationId xmlns:a16="http://schemas.microsoft.com/office/drawing/2014/main" id="{EF998344-E6AB-EE43-943C-9AB5A9122680}"/>
                </a:ext>
              </a:extLst>
            </p:cNvPr>
            <p:cNvSpPr/>
            <p:nvPr/>
          </p:nvSpPr>
          <p:spPr>
            <a:xfrm>
              <a:off x="11615551" y="3334957"/>
              <a:ext cx="818520" cy="818520"/>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sz="5065" dirty="0">
                <a:latin typeface="Lato Light" panose="020F0502020204030203" pitchFamily="34" charset="0"/>
              </a:endParaRPr>
            </a:p>
          </p:txBody>
        </p:sp>
        <p:sp>
          <p:nvSpPr>
            <p:cNvPr id="26" name="Shape 34194">
              <a:extLst>
                <a:ext uri="{FF2B5EF4-FFF2-40B4-BE49-F238E27FC236}">
                  <a16:creationId xmlns:a16="http://schemas.microsoft.com/office/drawing/2014/main" id="{FB8A1EE6-F7CD-6543-AF87-F182F2E52D9F}"/>
                </a:ext>
              </a:extLst>
            </p:cNvPr>
            <p:cNvSpPr/>
            <p:nvPr/>
          </p:nvSpPr>
          <p:spPr>
            <a:xfrm>
              <a:off x="14592598" y="6234099"/>
              <a:ext cx="850388" cy="976334"/>
            </a:xfrm>
            <a:custGeom>
              <a:avLst/>
              <a:gdLst/>
              <a:ahLst/>
              <a:cxnLst>
                <a:cxn ang="0">
                  <a:pos x="wd2" y="hd2"/>
                </a:cxn>
                <a:cxn ang="5400000">
                  <a:pos x="wd2" y="hd2"/>
                </a:cxn>
                <a:cxn ang="10800000">
                  <a:pos x="wd2" y="hd2"/>
                </a:cxn>
                <a:cxn ang="16200000">
                  <a:pos x="wd2" y="hd2"/>
                </a:cxn>
              </a:cxnLst>
              <a:rect l="0" t="0" r="r" b="b"/>
              <a:pathLst>
                <a:path w="21600" h="21600" extrusionOk="0">
                  <a:moveTo>
                    <a:pt x="11390" y="0"/>
                  </a:moveTo>
                  <a:lnTo>
                    <a:pt x="0" y="14168"/>
                  </a:lnTo>
                  <a:lnTo>
                    <a:pt x="12187" y="21600"/>
                  </a:lnTo>
                  <a:lnTo>
                    <a:pt x="21600" y="9890"/>
                  </a:lnTo>
                  <a:lnTo>
                    <a:pt x="20767" y="5719"/>
                  </a:lnTo>
                  <a:lnTo>
                    <a:pt x="11390" y="0"/>
                  </a:lnTo>
                  <a:close/>
                  <a:moveTo>
                    <a:pt x="12641" y="5625"/>
                  </a:moveTo>
                  <a:lnTo>
                    <a:pt x="17079" y="8332"/>
                  </a:lnTo>
                  <a:lnTo>
                    <a:pt x="16765" y="8723"/>
                  </a:lnTo>
                  <a:lnTo>
                    <a:pt x="12326" y="6016"/>
                  </a:lnTo>
                  <a:lnTo>
                    <a:pt x="12641" y="5625"/>
                  </a:lnTo>
                  <a:close/>
                  <a:moveTo>
                    <a:pt x="7323" y="8127"/>
                  </a:moveTo>
                  <a:lnTo>
                    <a:pt x="16200" y="13540"/>
                  </a:lnTo>
                  <a:lnTo>
                    <a:pt x="15894" y="13920"/>
                  </a:lnTo>
                  <a:lnTo>
                    <a:pt x="7017" y="8506"/>
                  </a:lnTo>
                  <a:lnTo>
                    <a:pt x="7323" y="8127"/>
                  </a:lnTo>
                  <a:close/>
                  <a:moveTo>
                    <a:pt x="5778" y="10048"/>
                  </a:moveTo>
                  <a:lnTo>
                    <a:pt x="14655" y="15462"/>
                  </a:lnTo>
                  <a:lnTo>
                    <a:pt x="14340" y="15853"/>
                  </a:lnTo>
                  <a:lnTo>
                    <a:pt x="5463" y="10439"/>
                  </a:lnTo>
                  <a:lnTo>
                    <a:pt x="5778" y="10048"/>
                  </a:lnTo>
                  <a:close/>
                  <a:moveTo>
                    <a:pt x="4233" y="11970"/>
                  </a:moveTo>
                  <a:lnTo>
                    <a:pt x="8671" y="14677"/>
                  </a:lnTo>
                  <a:lnTo>
                    <a:pt x="8357" y="15068"/>
                  </a:lnTo>
                  <a:lnTo>
                    <a:pt x="3918" y="12361"/>
                  </a:lnTo>
                  <a:lnTo>
                    <a:pt x="4233" y="1197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27" name="Shape 34195">
              <a:extLst>
                <a:ext uri="{FF2B5EF4-FFF2-40B4-BE49-F238E27FC236}">
                  <a16:creationId xmlns:a16="http://schemas.microsoft.com/office/drawing/2014/main" id="{C15C6A51-899D-4D4D-B4D8-8D2412A8CE08}"/>
                </a:ext>
              </a:extLst>
            </p:cNvPr>
            <p:cNvSpPr/>
            <p:nvPr/>
          </p:nvSpPr>
          <p:spPr>
            <a:xfrm>
              <a:off x="13429434" y="7344882"/>
              <a:ext cx="433382" cy="479750"/>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28" name="Shape 34196">
              <a:extLst>
                <a:ext uri="{FF2B5EF4-FFF2-40B4-BE49-F238E27FC236}">
                  <a16:creationId xmlns:a16="http://schemas.microsoft.com/office/drawing/2014/main" id="{2B00C1EB-FB24-EE4A-B422-24426AB0B660}"/>
                </a:ext>
              </a:extLst>
            </p:cNvPr>
            <p:cNvSpPr/>
            <p:nvPr/>
          </p:nvSpPr>
          <p:spPr>
            <a:xfrm>
              <a:off x="12395982" y="2571694"/>
              <a:ext cx="1203272" cy="672004"/>
            </a:xfrm>
            <a:custGeom>
              <a:avLst/>
              <a:gdLst/>
              <a:ahLst/>
              <a:cxnLst>
                <a:cxn ang="0">
                  <a:pos x="wd2" y="hd2"/>
                </a:cxn>
                <a:cxn ang="5400000">
                  <a:pos x="wd2" y="hd2"/>
                </a:cxn>
                <a:cxn ang="10800000">
                  <a:pos x="wd2" y="hd2"/>
                </a:cxn>
                <a:cxn ang="16200000">
                  <a:pos x="wd2" y="hd2"/>
                </a:cxn>
              </a:cxnLst>
              <a:rect l="0" t="0" r="r" b="b"/>
              <a:pathLst>
                <a:path w="21600" h="21600" extrusionOk="0">
                  <a:moveTo>
                    <a:pt x="0" y="15895"/>
                  </a:moveTo>
                  <a:cubicBezTo>
                    <a:pt x="2602" y="16630"/>
                    <a:pt x="4225" y="13961"/>
                    <a:pt x="5624" y="11197"/>
                  </a:cubicBezTo>
                  <a:cubicBezTo>
                    <a:pt x="6473" y="14530"/>
                    <a:pt x="7574" y="17859"/>
                    <a:pt x="10123" y="18579"/>
                  </a:cubicBezTo>
                  <a:cubicBezTo>
                    <a:pt x="12646" y="19291"/>
                    <a:pt x="14269" y="16784"/>
                    <a:pt x="15641" y="14112"/>
                  </a:cubicBezTo>
                  <a:cubicBezTo>
                    <a:pt x="16494" y="17483"/>
                    <a:pt x="17585" y="20872"/>
                    <a:pt x="20164" y="21600"/>
                  </a:cubicBezTo>
                  <a:lnTo>
                    <a:pt x="20353" y="19555"/>
                  </a:lnTo>
                  <a:cubicBezTo>
                    <a:pt x="18170" y="18939"/>
                    <a:pt x="17341" y="15971"/>
                    <a:pt x="16486" y="12469"/>
                  </a:cubicBezTo>
                  <a:cubicBezTo>
                    <a:pt x="17922" y="9562"/>
                    <a:pt x="19218" y="7126"/>
                    <a:pt x="21427" y="7750"/>
                  </a:cubicBezTo>
                  <a:lnTo>
                    <a:pt x="21600" y="5701"/>
                  </a:lnTo>
                  <a:cubicBezTo>
                    <a:pt x="18998" y="4966"/>
                    <a:pt x="17363" y="7639"/>
                    <a:pt x="15964" y="10403"/>
                  </a:cubicBezTo>
                  <a:cubicBezTo>
                    <a:pt x="15115" y="7072"/>
                    <a:pt x="14006" y="3768"/>
                    <a:pt x="11458" y="3048"/>
                  </a:cubicBezTo>
                  <a:cubicBezTo>
                    <a:pt x="8930" y="2335"/>
                    <a:pt x="7330" y="4841"/>
                    <a:pt x="5956" y="7519"/>
                  </a:cubicBezTo>
                  <a:cubicBezTo>
                    <a:pt x="5103" y="4143"/>
                    <a:pt x="4006" y="730"/>
                    <a:pt x="1424" y="0"/>
                  </a:cubicBezTo>
                  <a:cubicBezTo>
                    <a:pt x="1424" y="0"/>
                    <a:pt x="1247" y="2048"/>
                    <a:pt x="1247" y="2048"/>
                  </a:cubicBezTo>
                  <a:cubicBezTo>
                    <a:pt x="3436" y="2666"/>
                    <a:pt x="4253" y="5647"/>
                    <a:pt x="5111" y="9162"/>
                  </a:cubicBezTo>
                  <a:cubicBezTo>
                    <a:pt x="3678" y="12062"/>
                    <a:pt x="2378" y="14476"/>
                    <a:pt x="172" y="13853"/>
                  </a:cubicBezTo>
                  <a:lnTo>
                    <a:pt x="0" y="15895"/>
                  </a:lnTo>
                  <a:close/>
                  <a:moveTo>
                    <a:pt x="491" y="12600"/>
                  </a:moveTo>
                  <a:cubicBezTo>
                    <a:pt x="875" y="12701"/>
                    <a:pt x="1223" y="12685"/>
                    <a:pt x="1549" y="12580"/>
                  </a:cubicBezTo>
                  <a:cubicBezTo>
                    <a:pt x="1549" y="12580"/>
                    <a:pt x="2321" y="3967"/>
                    <a:pt x="2321" y="3967"/>
                  </a:cubicBezTo>
                  <a:cubicBezTo>
                    <a:pt x="2030" y="3690"/>
                    <a:pt x="1699" y="3489"/>
                    <a:pt x="1315" y="3377"/>
                  </a:cubicBezTo>
                  <a:lnTo>
                    <a:pt x="491" y="12600"/>
                  </a:lnTo>
                  <a:close/>
                  <a:moveTo>
                    <a:pt x="2634" y="11814"/>
                  </a:moveTo>
                  <a:cubicBezTo>
                    <a:pt x="3034" y="11431"/>
                    <a:pt x="3403" y="10892"/>
                    <a:pt x="3769" y="10250"/>
                  </a:cubicBezTo>
                  <a:lnTo>
                    <a:pt x="4033" y="7350"/>
                  </a:lnTo>
                  <a:cubicBezTo>
                    <a:pt x="3797" y="6543"/>
                    <a:pt x="3542" y="5828"/>
                    <a:pt x="3229" y="5249"/>
                  </a:cubicBezTo>
                  <a:lnTo>
                    <a:pt x="2634" y="11814"/>
                  </a:lnTo>
                  <a:close/>
                  <a:moveTo>
                    <a:pt x="6469" y="9554"/>
                  </a:moveTo>
                  <a:cubicBezTo>
                    <a:pt x="7855" y="6764"/>
                    <a:pt x="9142" y="4492"/>
                    <a:pt x="11285" y="5097"/>
                  </a:cubicBezTo>
                  <a:cubicBezTo>
                    <a:pt x="13446" y="5708"/>
                    <a:pt x="14271" y="8612"/>
                    <a:pt x="15117" y="12067"/>
                  </a:cubicBezTo>
                  <a:cubicBezTo>
                    <a:pt x="13735" y="14848"/>
                    <a:pt x="12450" y="17138"/>
                    <a:pt x="10312" y="16534"/>
                  </a:cubicBezTo>
                  <a:cubicBezTo>
                    <a:pt x="8151" y="15924"/>
                    <a:pt x="7315" y="13008"/>
                    <a:pt x="6469" y="9554"/>
                  </a:cubicBezTo>
                  <a:close/>
                  <a:moveTo>
                    <a:pt x="7926" y="11848"/>
                  </a:moveTo>
                  <a:cubicBezTo>
                    <a:pt x="8206" y="12791"/>
                    <a:pt x="8514" y="13618"/>
                    <a:pt x="8887" y="14290"/>
                  </a:cubicBezTo>
                  <a:lnTo>
                    <a:pt x="9579" y="6388"/>
                  </a:lnTo>
                  <a:cubicBezTo>
                    <a:pt x="9109" y="6822"/>
                    <a:pt x="8677" y="7447"/>
                    <a:pt x="8249" y="8189"/>
                  </a:cubicBezTo>
                  <a:lnTo>
                    <a:pt x="7926" y="11848"/>
                  </a:lnTo>
                  <a:close/>
                  <a:moveTo>
                    <a:pt x="9896" y="14953"/>
                  </a:moveTo>
                  <a:cubicBezTo>
                    <a:pt x="10099" y="15084"/>
                    <a:pt x="10315" y="15184"/>
                    <a:pt x="10557" y="15248"/>
                  </a:cubicBezTo>
                  <a:cubicBezTo>
                    <a:pt x="10679" y="15281"/>
                    <a:pt x="10797" y="15298"/>
                    <a:pt x="10912" y="15309"/>
                  </a:cubicBezTo>
                  <a:lnTo>
                    <a:pt x="11755" y="6255"/>
                  </a:lnTo>
                  <a:cubicBezTo>
                    <a:pt x="11643" y="6205"/>
                    <a:pt x="11527" y="6163"/>
                    <a:pt x="11404" y="6131"/>
                  </a:cubicBezTo>
                  <a:cubicBezTo>
                    <a:pt x="11163" y="6066"/>
                    <a:pt x="10938" y="6048"/>
                    <a:pt x="10721" y="6066"/>
                  </a:cubicBezTo>
                  <a:lnTo>
                    <a:pt x="9896" y="14953"/>
                  </a:lnTo>
                  <a:close/>
                  <a:moveTo>
                    <a:pt x="12018" y="15401"/>
                  </a:moveTo>
                  <a:cubicBezTo>
                    <a:pt x="12451" y="15112"/>
                    <a:pt x="12844" y="14657"/>
                    <a:pt x="13226" y="14085"/>
                  </a:cubicBezTo>
                  <a:lnTo>
                    <a:pt x="13671" y="9231"/>
                  </a:lnTo>
                  <a:cubicBezTo>
                    <a:pt x="13409" y="8483"/>
                    <a:pt x="13115" y="7842"/>
                    <a:pt x="12755" y="7338"/>
                  </a:cubicBezTo>
                  <a:lnTo>
                    <a:pt x="12018" y="15401"/>
                  </a:lnTo>
                  <a:close/>
                  <a:moveTo>
                    <a:pt x="17569" y="14225"/>
                  </a:moveTo>
                  <a:cubicBezTo>
                    <a:pt x="17809" y="14981"/>
                    <a:pt x="18068" y="15640"/>
                    <a:pt x="18381" y="16171"/>
                  </a:cubicBezTo>
                  <a:lnTo>
                    <a:pt x="18883" y="9826"/>
                  </a:lnTo>
                  <a:cubicBezTo>
                    <a:pt x="18496" y="10227"/>
                    <a:pt x="18140" y="10774"/>
                    <a:pt x="17789" y="11421"/>
                  </a:cubicBezTo>
                  <a:lnTo>
                    <a:pt x="17569" y="14225"/>
                  </a:lnTo>
                  <a:close/>
                  <a:moveTo>
                    <a:pt x="19556" y="17463"/>
                  </a:moveTo>
                  <a:cubicBezTo>
                    <a:pt x="19840" y="17716"/>
                    <a:pt x="20160" y="17896"/>
                    <a:pt x="20532" y="17987"/>
                  </a:cubicBezTo>
                  <a:lnTo>
                    <a:pt x="21280" y="9117"/>
                  </a:lnTo>
                  <a:cubicBezTo>
                    <a:pt x="20907" y="9037"/>
                    <a:pt x="20569" y="9067"/>
                    <a:pt x="20254" y="9182"/>
                  </a:cubicBezTo>
                  <a:cubicBezTo>
                    <a:pt x="20254" y="9182"/>
                    <a:pt x="19556" y="17463"/>
                    <a:pt x="19556" y="1746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sz="5065" dirty="0">
                <a:latin typeface="Lato Light" panose="020F0502020204030203" pitchFamily="34" charset="0"/>
              </a:endParaRPr>
            </a:p>
          </p:txBody>
        </p:sp>
        <p:sp>
          <p:nvSpPr>
            <p:cNvPr id="29" name="Shape 34197">
              <a:extLst>
                <a:ext uri="{FF2B5EF4-FFF2-40B4-BE49-F238E27FC236}">
                  <a16:creationId xmlns:a16="http://schemas.microsoft.com/office/drawing/2014/main" id="{2A699A1A-5E60-3145-8618-1F18CD1F4141}"/>
                </a:ext>
              </a:extLst>
            </p:cNvPr>
            <p:cNvSpPr/>
            <p:nvPr/>
          </p:nvSpPr>
          <p:spPr>
            <a:xfrm>
              <a:off x="13886540" y="2993820"/>
              <a:ext cx="578410" cy="610580"/>
            </a:xfrm>
            <a:custGeom>
              <a:avLst/>
              <a:gdLst/>
              <a:ahLst/>
              <a:cxnLst>
                <a:cxn ang="0">
                  <a:pos x="wd2" y="hd2"/>
                </a:cxn>
                <a:cxn ang="5400000">
                  <a:pos x="wd2" y="hd2"/>
                </a:cxn>
                <a:cxn ang="10800000">
                  <a:pos x="wd2" y="hd2"/>
                </a:cxn>
                <a:cxn ang="16200000">
                  <a:pos x="wd2" y="hd2"/>
                </a:cxn>
              </a:cxnLst>
              <a:rect l="0" t="0" r="r" b="b"/>
              <a:pathLst>
                <a:path w="21272" h="21285" extrusionOk="0">
                  <a:moveTo>
                    <a:pt x="7646" y="529"/>
                  </a:moveTo>
                  <a:cubicBezTo>
                    <a:pt x="7990" y="7"/>
                    <a:pt x="8716" y="-158"/>
                    <a:pt x="9266" y="168"/>
                  </a:cubicBezTo>
                  <a:lnTo>
                    <a:pt x="20724" y="6954"/>
                  </a:lnTo>
                  <a:cubicBezTo>
                    <a:pt x="21274" y="7280"/>
                    <a:pt x="21435" y="7971"/>
                    <a:pt x="21091" y="8493"/>
                  </a:cubicBezTo>
                  <a:lnTo>
                    <a:pt x="13003" y="20763"/>
                  </a:lnTo>
                  <a:cubicBezTo>
                    <a:pt x="12659" y="21284"/>
                    <a:pt x="11938" y="21442"/>
                    <a:pt x="11388" y="21116"/>
                  </a:cubicBezTo>
                  <a:lnTo>
                    <a:pt x="8398" y="19345"/>
                  </a:lnTo>
                  <a:lnTo>
                    <a:pt x="10574" y="16044"/>
                  </a:lnTo>
                  <a:cubicBezTo>
                    <a:pt x="10918" y="15523"/>
                    <a:pt x="10752" y="14839"/>
                    <a:pt x="10202" y="14513"/>
                  </a:cubicBezTo>
                  <a:lnTo>
                    <a:pt x="8206" y="13331"/>
                  </a:lnTo>
                  <a:cubicBezTo>
                    <a:pt x="7656" y="13006"/>
                    <a:pt x="6935" y="13163"/>
                    <a:pt x="6591" y="13685"/>
                  </a:cubicBezTo>
                  <a:lnTo>
                    <a:pt x="4415" y="16986"/>
                  </a:lnTo>
                  <a:lnTo>
                    <a:pt x="1926" y="15512"/>
                  </a:lnTo>
                  <a:cubicBezTo>
                    <a:pt x="1376" y="15186"/>
                    <a:pt x="1202" y="14498"/>
                    <a:pt x="1545" y="13976"/>
                  </a:cubicBezTo>
                  <a:lnTo>
                    <a:pt x="552" y="13387"/>
                  </a:lnTo>
                  <a:cubicBezTo>
                    <a:pt x="2" y="13062"/>
                    <a:pt x="-165" y="12378"/>
                    <a:pt x="179" y="11857"/>
                  </a:cubicBezTo>
                  <a:lnTo>
                    <a:pt x="7646" y="529"/>
                  </a:lnTo>
                  <a:close/>
                  <a:moveTo>
                    <a:pt x="8332" y="1585"/>
                  </a:moveTo>
                  <a:lnTo>
                    <a:pt x="1799" y="11496"/>
                  </a:lnTo>
                  <a:cubicBezTo>
                    <a:pt x="1799" y="11496"/>
                    <a:pt x="1170" y="12444"/>
                    <a:pt x="2166" y="13034"/>
                  </a:cubicBezTo>
                  <a:lnTo>
                    <a:pt x="9326" y="2173"/>
                  </a:lnTo>
                  <a:cubicBezTo>
                    <a:pt x="9498" y="1913"/>
                    <a:pt x="9416" y="1577"/>
                    <a:pt x="9141" y="1414"/>
                  </a:cubicBezTo>
                  <a:cubicBezTo>
                    <a:pt x="8866" y="1251"/>
                    <a:pt x="8504" y="1324"/>
                    <a:pt x="8332" y="1585"/>
                  </a:cubicBezTo>
                  <a:close/>
                  <a:moveTo>
                    <a:pt x="6784" y="14449"/>
                  </a:moveTo>
                  <a:cubicBezTo>
                    <a:pt x="7128" y="13927"/>
                    <a:pt x="7849" y="13769"/>
                    <a:pt x="8399" y="14095"/>
                  </a:cubicBezTo>
                  <a:lnTo>
                    <a:pt x="9393" y="14684"/>
                  </a:lnTo>
                  <a:cubicBezTo>
                    <a:pt x="9943" y="15010"/>
                    <a:pt x="10109" y="15693"/>
                    <a:pt x="9766" y="16215"/>
                  </a:cubicBezTo>
                  <a:lnTo>
                    <a:pt x="7897" y="19049"/>
                  </a:lnTo>
                  <a:cubicBezTo>
                    <a:pt x="7554" y="19570"/>
                    <a:pt x="6827" y="19735"/>
                    <a:pt x="6277" y="19410"/>
                  </a:cubicBezTo>
                  <a:lnTo>
                    <a:pt x="5284" y="18821"/>
                  </a:lnTo>
                  <a:cubicBezTo>
                    <a:pt x="4733" y="18495"/>
                    <a:pt x="4572" y="17804"/>
                    <a:pt x="4916" y="17283"/>
                  </a:cubicBezTo>
                  <a:lnTo>
                    <a:pt x="6784" y="14449"/>
                  </a:lnTo>
                  <a:close/>
                  <a:moveTo>
                    <a:pt x="7465" y="15512"/>
                  </a:moveTo>
                  <a:cubicBezTo>
                    <a:pt x="7293" y="15773"/>
                    <a:pt x="7369" y="16116"/>
                    <a:pt x="7645" y="16279"/>
                  </a:cubicBezTo>
                  <a:cubicBezTo>
                    <a:pt x="7920" y="16442"/>
                    <a:pt x="8287" y="16362"/>
                    <a:pt x="8459" y="16101"/>
                  </a:cubicBezTo>
                  <a:cubicBezTo>
                    <a:pt x="8630" y="15840"/>
                    <a:pt x="8546" y="15492"/>
                    <a:pt x="8271" y="15329"/>
                  </a:cubicBezTo>
                  <a:cubicBezTo>
                    <a:pt x="7995" y="15166"/>
                    <a:pt x="7637" y="15251"/>
                    <a:pt x="7465" y="1551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30" name="Shape 34198">
              <a:extLst>
                <a:ext uri="{FF2B5EF4-FFF2-40B4-BE49-F238E27FC236}">
                  <a16:creationId xmlns:a16="http://schemas.microsoft.com/office/drawing/2014/main" id="{8E2450B3-8B02-A44C-9E5D-33C49152DA61}"/>
                </a:ext>
              </a:extLst>
            </p:cNvPr>
            <p:cNvSpPr/>
            <p:nvPr/>
          </p:nvSpPr>
          <p:spPr>
            <a:xfrm>
              <a:off x="10894630" y="2650276"/>
              <a:ext cx="621486" cy="960340"/>
            </a:xfrm>
            <a:custGeom>
              <a:avLst/>
              <a:gdLst/>
              <a:ahLst/>
              <a:cxnLst>
                <a:cxn ang="0">
                  <a:pos x="wd2" y="hd2"/>
                </a:cxn>
                <a:cxn ang="5400000">
                  <a:pos x="wd2" y="hd2"/>
                </a:cxn>
                <a:cxn ang="10800000">
                  <a:pos x="wd2" y="hd2"/>
                </a:cxn>
                <a:cxn ang="16200000">
                  <a:pos x="wd2" y="hd2"/>
                </a:cxn>
              </a:cxnLst>
              <a:rect l="0" t="0" r="r" b="b"/>
              <a:pathLst>
                <a:path w="21220" h="21353" extrusionOk="0">
                  <a:moveTo>
                    <a:pt x="15021" y="3564"/>
                  </a:moveTo>
                  <a:lnTo>
                    <a:pt x="1858" y="5543"/>
                  </a:lnTo>
                  <a:lnTo>
                    <a:pt x="6199" y="17788"/>
                  </a:lnTo>
                  <a:lnTo>
                    <a:pt x="19362" y="15809"/>
                  </a:lnTo>
                  <a:cubicBezTo>
                    <a:pt x="19362" y="15809"/>
                    <a:pt x="15021" y="3564"/>
                    <a:pt x="15021" y="3564"/>
                  </a:cubicBezTo>
                  <a:close/>
                  <a:moveTo>
                    <a:pt x="10139" y="2364"/>
                  </a:moveTo>
                  <a:lnTo>
                    <a:pt x="5438" y="3070"/>
                  </a:lnTo>
                  <a:cubicBezTo>
                    <a:pt x="5178" y="3109"/>
                    <a:pt x="5016" y="3278"/>
                    <a:pt x="5076" y="3447"/>
                  </a:cubicBezTo>
                  <a:cubicBezTo>
                    <a:pt x="5136" y="3616"/>
                    <a:pt x="5395" y="3722"/>
                    <a:pt x="5655" y="3683"/>
                  </a:cubicBezTo>
                  <a:lnTo>
                    <a:pt x="10356" y="2976"/>
                  </a:lnTo>
                  <a:cubicBezTo>
                    <a:pt x="10615" y="2937"/>
                    <a:pt x="10777" y="2768"/>
                    <a:pt x="10717" y="2599"/>
                  </a:cubicBezTo>
                  <a:cubicBezTo>
                    <a:pt x="10657" y="2430"/>
                    <a:pt x="10398" y="2325"/>
                    <a:pt x="10139" y="2364"/>
                  </a:cubicBezTo>
                  <a:close/>
                  <a:moveTo>
                    <a:pt x="14119" y="19177"/>
                  </a:moveTo>
                  <a:cubicBezTo>
                    <a:pt x="14897" y="19060"/>
                    <a:pt x="15383" y="18554"/>
                    <a:pt x="15204" y="18046"/>
                  </a:cubicBezTo>
                  <a:cubicBezTo>
                    <a:pt x="15024" y="17539"/>
                    <a:pt x="14246" y="17223"/>
                    <a:pt x="13468" y="17340"/>
                  </a:cubicBezTo>
                  <a:cubicBezTo>
                    <a:pt x="12689" y="17457"/>
                    <a:pt x="12203" y="17963"/>
                    <a:pt x="12383" y="18470"/>
                  </a:cubicBezTo>
                  <a:cubicBezTo>
                    <a:pt x="12563" y="18978"/>
                    <a:pt x="13340" y="19294"/>
                    <a:pt x="14119" y="19177"/>
                  </a:cubicBezTo>
                  <a:close/>
                  <a:moveTo>
                    <a:pt x="19724" y="19624"/>
                  </a:moveTo>
                  <a:lnTo>
                    <a:pt x="8442" y="21320"/>
                  </a:lnTo>
                  <a:cubicBezTo>
                    <a:pt x="7403" y="21476"/>
                    <a:pt x="6367" y="21054"/>
                    <a:pt x="6127" y="20378"/>
                  </a:cubicBezTo>
                  <a:lnTo>
                    <a:pt x="50" y="3235"/>
                  </a:lnTo>
                  <a:cubicBezTo>
                    <a:pt x="-190" y="2559"/>
                    <a:pt x="458" y="1884"/>
                    <a:pt x="1496" y="1728"/>
                  </a:cubicBezTo>
                  <a:lnTo>
                    <a:pt x="12778" y="32"/>
                  </a:lnTo>
                  <a:cubicBezTo>
                    <a:pt x="13817" y="-124"/>
                    <a:pt x="14853" y="298"/>
                    <a:pt x="15093" y="974"/>
                  </a:cubicBezTo>
                  <a:lnTo>
                    <a:pt x="21170" y="18117"/>
                  </a:lnTo>
                  <a:cubicBezTo>
                    <a:pt x="21410" y="18793"/>
                    <a:pt x="20762" y="19468"/>
                    <a:pt x="19724" y="1962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31" name="Shape 34199">
              <a:extLst>
                <a:ext uri="{FF2B5EF4-FFF2-40B4-BE49-F238E27FC236}">
                  <a16:creationId xmlns:a16="http://schemas.microsoft.com/office/drawing/2014/main" id="{E69F722F-7866-E043-A9AF-3F13D152CCA9}"/>
                </a:ext>
              </a:extLst>
            </p:cNvPr>
            <p:cNvSpPr/>
            <p:nvPr/>
          </p:nvSpPr>
          <p:spPr>
            <a:xfrm>
              <a:off x="11662409" y="2578131"/>
              <a:ext cx="539930" cy="685716"/>
            </a:xfrm>
            <a:custGeom>
              <a:avLst/>
              <a:gdLst/>
              <a:ahLst/>
              <a:cxnLst>
                <a:cxn ang="0">
                  <a:pos x="wd2" y="hd2"/>
                </a:cxn>
                <a:cxn ang="5400000">
                  <a:pos x="wd2" y="hd2"/>
                </a:cxn>
                <a:cxn ang="10800000">
                  <a:pos x="wd2" y="hd2"/>
                </a:cxn>
                <a:cxn ang="16200000">
                  <a:pos x="wd2" y="hd2"/>
                </a:cxn>
              </a:cxnLst>
              <a:rect l="0" t="0" r="r" b="b"/>
              <a:pathLst>
                <a:path w="21600" h="21600" extrusionOk="0">
                  <a:moveTo>
                    <a:pt x="0" y="837"/>
                  </a:moveTo>
                  <a:lnTo>
                    <a:pt x="1844" y="21600"/>
                  </a:lnTo>
                  <a:lnTo>
                    <a:pt x="21600" y="20512"/>
                  </a:lnTo>
                  <a:lnTo>
                    <a:pt x="20076" y="3352"/>
                  </a:lnTo>
                  <a:lnTo>
                    <a:pt x="15202" y="0"/>
                  </a:lnTo>
                  <a:lnTo>
                    <a:pt x="0" y="837"/>
                  </a:lnTo>
                  <a:close/>
                  <a:moveTo>
                    <a:pt x="6705" y="5273"/>
                  </a:moveTo>
                  <a:lnTo>
                    <a:pt x="13900" y="4876"/>
                  </a:lnTo>
                  <a:lnTo>
                    <a:pt x="13951" y="5450"/>
                  </a:lnTo>
                  <a:lnTo>
                    <a:pt x="6756" y="5846"/>
                  </a:lnTo>
                  <a:lnTo>
                    <a:pt x="6705" y="5273"/>
                  </a:lnTo>
                  <a:close/>
                  <a:moveTo>
                    <a:pt x="3609" y="11120"/>
                  </a:moveTo>
                  <a:lnTo>
                    <a:pt x="18000" y="10328"/>
                  </a:lnTo>
                  <a:lnTo>
                    <a:pt x="18049" y="10884"/>
                  </a:lnTo>
                  <a:lnTo>
                    <a:pt x="3658" y="11677"/>
                  </a:lnTo>
                  <a:lnTo>
                    <a:pt x="3609" y="11120"/>
                  </a:lnTo>
                  <a:close/>
                  <a:moveTo>
                    <a:pt x="3859" y="13936"/>
                  </a:moveTo>
                  <a:lnTo>
                    <a:pt x="18250" y="13144"/>
                  </a:lnTo>
                  <a:lnTo>
                    <a:pt x="18301" y="13717"/>
                  </a:lnTo>
                  <a:lnTo>
                    <a:pt x="3910" y="14509"/>
                  </a:lnTo>
                  <a:lnTo>
                    <a:pt x="3859" y="13936"/>
                  </a:lnTo>
                  <a:close/>
                  <a:moveTo>
                    <a:pt x="4109" y="16753"/>
                  </a:moveTo>
                  <a:lnTo>
                    <a:pt x="11305" y="16357"/>
                  </a:lnTo>
                  <a:lnTo>
                    <a:pt x="11356" y="16930"/>
                  </a:lnTo>
                  <a:lnTo>
                    <a:pt x="4160" y="17326"/>
                  </a:lnTo>
                  <a:lnTo>
                    <a:pt x="4109" y="16753"/>
                  </a:lnTo>
                  <a:close/>
                </a:path>
              </a:pathLst>
            </a:custGeom>
            <a:solidFill>
              <a:schemeClr val="accent3"/>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32" name="Shape 34200">
              <a:extLst>
                <a:ext uri="{FF2B5EF4-FFF2-40B4-BE49-F238E27FC236}">
                  <a16:creationId xmlns:a16="http://schemas.microsoft.com/office/drawing/2014/main" id="{5714FF78-E3A6-5444-AAB4-64BE2172F74B}"/>
                </a:ext>
              </a:extLst>
            </p:cNvPr>
            <p:cNvSpPr/>
            <p:nvPr/>
          </p:nvSpPr>
          <p:spPr>
            <a:xfrm>
              <a:off x="12531620" y="6289836"/>
              <a:ext cx="641868" cy="650244"/>
            </a:xfrm>
            <a:custGeom>
              <a:avLst/>
              <a:gdLst/>
              <a:ahLst/>
              <a:cxnLst>
                <a:cxn ang="0">
                  <a:pos x="wd2" y="hd2"/>
                </a:cxn>
                <a:cxn ang="5400000">
                  <a:pos x="wd2" y="hd2"/>
                </a:cxn>
                <a:cxn ang="10800000">
                  <a:pos x="wd2" y="hd2"/>
                </a:cxn>
                <a:cxn ang="16200000">
                  <a:pos x="wd2" y="hd2"/>
                </a:cxn>
              </a:cxnLst>
              <a:rect l="0" t="0" r="r" b="b"/>
              <a:pathLst>
                <a:path w="21273" h="21600" extrusionOk="0">
                  <a:moveTo>
                    <a:pt x="0" y="8656"/>
                  </a:moveTo>
                  <a:lnTo>
                    <a:pt x="3891" y="13472"/>
                  </a:lnTo>
                  <a:cubicBezTo>
                    <a:pt x="3891" y="13472"/>
                    <a:pt x="5113" y="13644"/>
                    <a:pt x="5432" y="12623"/>
                  </a:cubicBezTo>
                  <a:cubicBezTo>
                    <a:pt x="5784" y="11492"/>
                    <a:pt x="7687" y="9934"/>
                    <a:pt x="9148" y="11824"/>
                  </a:cubicBezTo>
                  <a:cubicBezTo>
                    <a:pt x="10609" y="13713"/>
                    <a:pt x="9118" y="15051"/>
                    <a:pt x="7911" y="15308"/>
                  </a:cubicBezTo>
                  <a:cubicBezTo>
                    <a:pt x="6818" y="15541"/>
                    <a:pt x="6446" y="16635"/>
                    <a:pt x="6446" y="16635"/>
                  </a:cubicBezTo>
                  <a:lnTo>
                    <a:pt x="10458" y="21600"/>
                  </a:lnTo>
                  <a:lnTo>
                    <a:pt x="14739" y="18125"/>
                  </a:lnTo>
                  <a:cubicBezTo>
                    <a:pt x="14739" y="18125"/>
                    <a:pt x="14656" y="17235"/>
                    <a:pt x="13766" y="16921"/>
                  </a:cubicBezTo>
                  <a:cubicBezTo>
                    <a:pt x="12685" y="16541"/>
                    <a:pt x="11239" y="14858"/>
                    <a:pt x="13261" y="13217"/>
                  </a:cubicBezTo>
                  <a:cubicBezTo>
                    <a:pt x="15282" y="11577"/>
                    <a:pt x="16620" y="13268"/>
                    <a:pt x="16756" y="14619"/>
                  </a:cubicBezTo>
                  <a:cubicBezTo>
                    <a:pt x="16858" y="15631"/>
                    <a:pt x="17668" y="15748"/>
                    <a:pt x="17668" y="15748"/>
                  </a:cubicBezTo>
                  <a:lnTo>
                    <a:pt x="21273" y="12822"/>
                  </a:lnTo>
                  <a:cubicBezTo>
                    <a:pt x="21273" y="12822"/>
                    <a:pt x="18291" y="9357"/>
                    <a:pt x="17693" y="8295"/>
                  </a:cubicBezTo>
                  <a:cubicBezTo>
                    <a:pt x="17052" y="7158"/>
                    <a:pt x="18759" y="6911"/>
                    <a:pt x="19060" y="6845"/>
                  </a:cubicBezTo>
                  <a:cubicBezTo>
                    <a:pt x="20796" y="6467"/>
                    <a:pt x="21600" y="4760"/>
                    <a:pt x="20175" y="2996"/>
                  </a:cubicBezTo>
                  <a:cubicBezTo>
                    <a:pt x="18749" y="1232"/>
                    <a:pt x="16519" y="2306"/>
                    <a:pt x="16165" y="3733"/>
                  </a:cubicBezTo>
                  <a:cubicBezTo>
                    <a:pt x="15902" y="4793"/>
                    <a:pt x="15415" y="5326"/>
                    <a:pt x="14915" y="4919"/>
                  </a:cubicBezTo>
                  <a:cubicBezTo>
                    <a:pt x="13746" y="3966"/>
                    <a:pt x="10665" y="0"/>
                    <a:pt x="10665" y="0"/>
                  </a:cubicBezTo>
                  <a:lnTo>
                    <a:pt x="7285" y="2743"/>
                  </a:lnTo>
                  <a:cubicBezTo>
                    <a:pt x="7285" y="2743"/>
                    <a:pt x="7256" y="4048"/>
                    <a:pt x="8291" y="4295"/>
                  </a:cubicBezTo>
                  <a:cubicBezTo>
                    <a:pt x="9849" y="4668"/>
                    <a:pt x="10626" y="6514"/>
                    <a:pt x="9021" y="7816"/>
                  </a:cubicBezTo>
                  <a:cubicBezTo>
                    <a:pt x="7417" y="9118"/>
                    <a:pt x="5847" y="8156"/>
                    <a:pt x="5733" y="6515"/>
                  </a:cubicBezTo>
                  <a:cubicBezTo>
                    <a:pt x="5669" y="5595"/>
                    <a:pt x="4421" y="5079"/>
                    <a:pt x="4421" y="5079"/>
                  </a:cubicBezTo>
                  <a:cubicBezTo>
                    <a:pt x="4421" y="5079"/>
                    <a:pt x="0" y="8656"/>
                    <a:pt x="0" y="865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33" name="Shape 34201">
              <a:extLst>
                <a:ext uri="{FF2B5EF4-FFF2-40B4-BE49-F238E27FC236}">
                  <a16:creationId xmlns:a16="http://schemas.microsoft.com/office/drawing/2014/main" id="{73E58CFC-6B93-FA41-A09E-D6E5DA03CDAE}"/>
                </a:ext>
              </a:extLst>
            </p:cNvPr>
            <p:cNvSpPr/>
            <p:nvPr/>
          </p:nvSpPr>
          <p:spPr>
            <a:xfrm>
              <a:off x="11981887" y="4201963"/>
              <a:ext cx="441404" cy="383974"/>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34" name="Shape 34202">
              <a:extLst>
                <a:ext uri="{FF2B5EF4-FFF2-40B4-BE49-F238E27FC236}">
                  <a16:creationId xmlns:a16="http://schemas.microsoft.com/office/drawing/2014/main" id="{5B181D45-6658-A14D-89CB-EC487FCA648E}"/>
                </a:ext>
              </a:extLst>
            </p:cNvPr>
            <p:cNvSpPr/>
            <p:nvPr/>
          </p:nvSpPr>
          <p:spPr>
            <a:xfrm>
              <a:off x="11678186" y="10413681"/>
              <a:ext cx="681752" cy="44600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35" name="Shape 34203">
              <a:extLst>
                <a:ext uri="{FF2B5EF4-FFF2-40B4-BE49-F238E27FC236}">
                  <a16:creationId xmlns:a16="http://schemas.microsoft.com/office/drawing/2014/main" id="{EABE2DD4-8E7A-F342-AEE6-5200244251AA}"/>
                </a:ext>
              </a:extLst>
            </p:cNvPr>
            <p:cNvSpPr/>
            <p:nvPr/>
          </p:nvSpPr>
          <p:spPr>
            <a:xfrm>
              <a:off x="13517964" y="3878275"/>
              <a:ext cx="745620" cy="528512"/>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36" name="Shape 34204">
              <a:extLst>
                <a:ext uri="{FF2B5EF4-FFF2-40B4-BE49-F238E27FC236}">
                  <a16:creationId xmlns:a16="http://schemas.microsoft.com/office/drawing/2014/main" id="{981272BE-176B-1C4A-A5F3-3FA458BB865D}"/>
                </a:ext>
              </a:extLst>
            </p:cNvPr>
            <p:cNvSpPr/>
            <p:nvPr/>
          </p:nvSpPr>
          <p:spPr>
            <a:xfrm>
              <a:off x="10622816" y="11265327"/>
              <a:ext cx="446006" cy="446008"/>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37" name="Shape 34205">
              <a:extLst>
                <a:ext uri="{FF2B5EF4-FFF2-40B4-BE49-F238E27FC236}">
                  <a16:creationId xmlns:a16="http://schemas.microsoft.com/office/drawing/2014/main" id="{40DDEEA7-6681-994E-AB84-5CE4DAFC8B06}"/>
                </a:ext>
              </a:extLst>
            </p:cNvPr>
            <p:cNvSpPr/>
            <p:nvPr/>
          </p:nvSpPr>
          <p:spPr>
            <a:xfrm>
              <a:off x="11074336" y="12293991"/>
              <a:ext cx="529370" cy="550146"/>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38" name="Shape 34206">
              <a:extLst>
                <a:ext uri="{FF2B5EF4-FFF2-40B4-BE49-F238E27FC236}">
                  <a16:creationId xmlns:a16="http://schemas.microsoft.com/office/drawing/2014/main" id="{3300F729-B2C7-8447-A6CE-D7BAA984610F}"/>
                </a:ext>
              </a:extLst>
            </p:cNvPr>
            <p:cNvSpPr/>
            <p:nvPr/>
          </p:nvSpPr>
          <p:spPr>
            <a:xfrm>
              <a:off x="10836598" y="8678073"/>
              <a:ext cx="776072" cy="459642"/>
            </a:xfrm>
            <a:custGeom>
              <a:avLst/>
              <a:gdLst/>
              <a:ahLst/>
              <a:cxnLst>
                <a:cxn ang="0">
                  <a:pos x="wd2" y="hd2"/>
                </a:cxn>
                <a:cxn ang="5400000">
                  <a:pos x="wd2" y="hd2"/>
                </a:cxn>
                <a:cxn ang="10800000">
                  <a:pos x="wd2" y="hd2"/>
                </a:cxn>
                <a:cxn ang="16200000">
                  <a:pos x="wd2" y="hd2"/>
                </a:cxn>
              </a:cxnLst>
              <a:rect l="0" t="0" r="r" b="b"/>
              <a:pathLst>
                <a:path w="21428" h="21311" extrusionOk="0">
                  <a:moveTo>
                    <a:pt x="3736" y="4687"/>
                  </a:moveTo>
                  <a:lnTo>
                    <a:pt x="4986" y="19624"/>
                  </a:lnTo>
                  <a:lnTo>
                    <a:pt x="17693" y="16625"/>
                  </a:lnTo>
                  <a:lnTo>
                    <a:pt x="16443" y="1688"/>
                  </a:lnTo>
                  <a:cubicBezTo>
                    <a:pt x="16443" y="1688"/>
                    <a:pt x="3736" y="4687"/>
                    <a:pt x="3736" y="4687"/>
                  </a:cubicBezTo>
                  <a:close/>
                  <a:moveTo>
                    <a:pt x="2231" y="9938"/>
                  </a:moveTo>
                  <a:lnTo>
                    <a:pt x="2678" y="15273"/>
                  </a:lnTo>
                  <a:cubicBezTo>
                    <a:pt x="2702" y="15567"/>
                    <a:pt x="2864" y="15772"/>
                    <a:pt x="3040" y="15731"/>
                  </a:cubicBezTo>
                  <a:cubicBezTo>
                    <a:pt x="3215" y="15690"/>
                    <a:pt x="3338" y="15417"/>
                    <a:pt x="3313" y="15123"/>
                  </a:cubicBezTo>
                  <a:lnTo>
                    <a:pt x="2867" y="9788"/>
                  </a:lnTo>
                  <a:cubicBezTo>
                    <a:pt x="2842" y="9494"/>
                    <a:pt x="2680" y="9288"/>
                    <a:pt x="2504" y="9330"/>
                  </a:cubicBezTo>
                  <a:cubicBezTo>
                    <a:pt x="2329" y="9371"/>
                    <a:pt x="2207" y="9644"/>
                    <a:pt x="2231" y="9938"/>
                  </a:cubicBezTo>
                  <a:close/>
                  <a:moveTo>
                    <a:pt x="19564" y="8023"/>
                  </a:moveTo>
                  <a:cubicBezTo>
                    <a:pt x="19490" y="7140"/>
                    <a:pt x="19004" y="6524"/>
                    <a:pt x="18477" y="6648"/>
                  </a:cubicBezTo>
                  <a:cubicBezTo>
                    <a:pt x="17951" y="6772"/>
                    <a:pt x="17584" y="7590"/>
                    <a:pt x="17658" y="8473"/>
                  </a:cubicBezTo>
                  <a:cubicBezTo>
                    <a:pt x="17732" y="9357"/>
                    <a:pt x="18219" y="9973"/>
                    <a:pt x="18745" y="9849"/>
                  </a:cubicBezTo>
                  <a:cubicBezTo>
                    <a:pt x="19272" y="9724"/>
                    <a:pt x="19638" y="8907"/>
                    <a:pt x="19564" y="8023"/>
                  </a:cubicBezTo>
                  <a:close/>
                  <a:moveTo>
                    <a:pt x="20344" y="1856"/>
                  </a:moveTo>
                  <a:lnTo>
                    <a:pt x="21415" y="14658"/>
                  </a:lnTo>
                  <a:cubicBezTo>
                    <a:pt x="21514" y="15837"/>
                    <a:pt x="21025" y="16926"/>
                    <a:pt x="20323" y="17092"/>
                  </a:cubicBezTo>
                  <a:lnTo>
                    <a:pt x="2533" y="21290"/>
                  </a:lnTo>
                  <a:cubicBezTo>
                    <a:pt x="1832" y="21456"/>
                    <a:pt x="1183" y="20635"/>
                    <a:pt x="1084" y="19456"/>
                  </a:cubicBezTo>
                  <a:lnTo>
                    <a:pt x="13" y="6654"/>
                  </a:lnTo>
                  <a:cubicBezTo>
                    <a:pt x="-86" y="5475"/>
                    <a:pt x="403" y="4386"/>
                    <a:pt x="1105" y="4220"/>
                  </a:cubicBezTo>
                  <a:lnTo>
                    <a:pt x="18895" y="22"/>
                  </a:lnTo>
                  <a:cubicBezTo>
                    <a:pt x="19596" y="-144"/>
                    <a:pt x="20245" y="677"/>
                    <a:pt x="20344" y="1856"/>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sz="5065" dirty="0">
                <a:latin typeface="Lato Light" panose="020F0502020204030203" pitchFamily="34" charset="0"/>
              </a:endParaRPr>
            </a:p>
          </p:txBody>
        </p:sp>
        <p:sp>
          <p:nvSpPr>
            <p:cNvPr id="39" name="Shape 34207">
              <a:extLst>
                <a:ext uri="{FF2B5EF4-FFF2-40B4-BE49-F238E27FC236}">
                  <a16:creationId xmlns:a16="http://schemas.microsoft.com/office/drawing/2014/main" id="{40E28F66-8E90-3849-88A9-F8A6BD11783F}"/>
                </a:ext>
              </a:extLst>
            </p:cNvPr>
            <p:cNvSpPr/>
            <p:nvPr/>
          </p:nvSpPr>
          <p:spPr>
            <a:xfrm>
              <a:off x="12300451" y="8958670"/>
              <a:ext cx="694132" cy="637746"/>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40" name="Shape 34208">
              <a:extLst>
                <a:ext uri="{FF2B5EF4-FFF2-40B4-BE49-F238E27FC236}">
                  <a16:creationId xmlns:a16="http://schemas.microsoft.com/office/drawing/2014/main" id="{DCDE292F-5308-2D4A-8AE0-DA8479AA5787}"/>
                </a:ext>
              </a:extLst>
            </p:cNvPr>
            <p:cNvSpPr/>
            <p:nvPr/>
          </p:nvSpPr>
          <p:spPr>
            <a:xfrm>
              <a:off x="11569660" y="9038623"/>
              <a:ext cx="297614" cy="32945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41" name="Shape 34209">
              <a:extLst>
                <a:ext uri="{FF2B5EF4-FFF2-40B4-BE49-F238E27FC236}">
                  <a16:creationId xmlns:a16="http://schemas.microsoft.com/office/drawing/2014/main" id="{C312C444-65CA-9947-AE6E-BC63D6661BAB}"/>
                </a:ext>
              </a:extLst>
            </p:cNvPr>
            <p:cNvSpPr/>
            <p:nvPr/>
          </p:nvSpPr>
          <p:spPr>
            <a:xfrm>
              <a:off x="13028438" y="8411802"/>
              <a:ext cx="415194" cy="47975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42" name="Shape 34210">
              <a:extLst>
                <a:ext uri="{FF2B5EF4-FFF2-40B4-BE49-F238E27FC236}">
                  <a16:creationId xmlns:a16="http://schemas.microsoft.com/office/drawing/2014/main" id="{E0E4FDCB-3121-B144-9F68-49A5DD63CB0E}"/>
                </a:ext>
              </a:extLst>
            </p:cNvPr>
            <p:cNvSpPr/>
            <p:nvPr/>
          </p:nvSpPr>
          <p:spPr>
            <a:xfrm>
              <a:off x="9694005" y="5957329"/>
              <a:ext cx="377264" cy="351174"/>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43" name="Shape 34211">
              <a:extLst>
                <a:ext uri="{FF2B5EF4-FFF2-40B4-BE49-F238E27FC236}">
                  <a16:creationId xmlns:a16="http://schemas.microsoft.com/office/drawing/2014/main" id="{3514AF88-0512-E346-B00D-596D135EDA46}"/>
                </a:ext>
              </a:extLst>
            </p:cNvPr>
            <p:cNvSpPr/>
            <p:nvPr/>
          </p:nvSpPr>
          <p:spPr>
            <a:xfrm>
              <a:off x="10312910" y="3971892"/>
              <a:ext cx="478390" cy="684028"/>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44" name="Shape 34212">
              <a:extLst>
                <a:ext uri="{FF2B5EF4-FFF2-40B4-BE49-F238E27FC236}">
                  <a16:creationId xmlns:a16="http://schemas.microsoft.com/office/drawing/2014/main" id="{DC4DEC89-FB3C-2043-9BF3-C97C9B3713CA}"/>
                </a:ext>
              </a:extLst>
            </p:cNvPr>
            <p:cNvSpPr/>
            <p:nvPr/>
          </p:nvSpPr>
          <p:spPr>
            <a:xfrm>
              <a:off x="9175496" y="3615262"/>
              <a:ext cx="674788" cy="478306"/>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sz="5065" dirty="0">
                <a:latin typeface="Lato Light" panose="020F0502020204030203" pitchFamily="34" charset="0"/>
              </a:endParaRPr>
            </a:p>
          </p:txBody>
        </p:sp>
        <p:sp>
          <p:nvSpPr>
            <p:cNvPr id="45" name="Shape 34213">
              <a:extLst>
                <a:ext uri="{FF2B5EF4-FFF2-40B4-BE49-F238E27FC236}">
                  <a16:creationId xmlns:a16="http://schemas.microsoft.com/office/drawing/2014/main" id="{B6EBF408-BC5E-9D42-A4E9-E3247241A6DA}"/>
                </a:ext>
              </a:extLst>
            </p:cNvPr>
            <p:cNvSpPr/>
            <p:nvPr/>
          </p:nvSpPr>
          <p:spPr>
            <a:xfrm>
              <a:off x="14822081" y="4439957"/>
              <a:ext cx="756136" cy="659706"/>
            </a:xfrm>
            <a:custGeom>
              <a:avLst/>
              <a:gdLst/>
              <a:ahLst/>
              <a:cxnLst>
                <a:cxn ang="0">
                  <a:pos x="wd2" y="hd2"/>
                </a:cxn>
                <a:cxn ang="5400000">
                  <a:pos x="wd2" y="hd2"/>
                </a:cxn>
                <a:cxn ang="10800000">
                  <a:pos x="wd2" y="hd2"/>
                </a:cxn>
                <a:cxn ang="16200000">
                  <a:pos x="wd2" y="hd2"/>
                </a:cxn>
              </a:cxnLst>
              <a:rect l="0" t="0" r="r" b="b"/>
              <a:pathLst>
                <a:path w="21600" h="21600" extrusionOk="0">
                  <a:moveTo>
                    <a:pt x="6294" y="3457"/>
                  </a:moveTo>
                  <a:lnTo>
                    <a:pt x="148" y="16086"/>
                  </a:lnTo>
                  <a:lnTo>
                    <a:pt x="0" y="16165"/>
                  </a:lnTo>
                  <a:lnTo>
                    <a:pt x="1008" y="21600"/>
                  </a:lnTo>
                  <a:lnTo>
                    <a:pt x="10415" y="19280"/>
                  </a:lnTo>
                  <a:lnTo>
                    <a:pt x="10816" y="21443"/>
                  </a:lnTo>
                  <a:lnTo>
                    <a:pt x="12402" y="20369"/>
                  </a:lnTo>
                  <a:lnTo>
                    <a:pt x="14220" y="20613"/>
                  </a:lnTo>
                  <a:lnTo>
                    <a:pt x="13819" y="18450"/>
                  </a:lnTo>
                  <a:lnTo>
                    <a:pt x="17113" y="17634"/>
                  </a:lnTo>
                  <a:lnTo>
                    <a:pt x="17471" y="17546"/>
                  </a:lnTo>
                  <a:lnTo>
                    <a:pt x="21600" y="5952"/>
                  </a:lnTo>
                  <a:lnTo>
                    <a:pt x="20486" y="14"/>
                  </a:lnTo>
                  <a:cubicBezTo>
                    <a:pt x="20486" y="14"/>
                    <a:pt x="20484" y="0"/>
                    <a:pt x="20484" y="0"/>
                  </a:cubicBezTo>
                  <a:lnTo>
                    <a:pt x="6294" y="3457"/>
                  </a:lnTo>
                  <a:close/>
                  <a:moveTo>
                    <a:pt x="19860" y="1754"/>
                  </a:moveTo>
                  <a:cubicBezTo>
                    <a:pt x="19941" y="2188"/>
                    <a:pt x="20020" y="2621"/>
                    <a:pt x="20101" y="3055"/>
                  </a:cubicBezTo>
                  <a:cubicBezTo>
                    <a:pt x="20278" y="3996"/>
                    <a:pt x="20448" y="4934"/>
                    <a:pt x="20624" y="5875"/>
                  </a:cubicBezTo>
                  <a:lnTo>
                    <a:pt x="16762" y="16617"/>
                  </a:lnTo>
                  <a:lnTo>
                    <a:pt x="13623" y="17396"/>
                  </a:lnTo>
                  <a:lnTo>
                    <a:pt x="13219" y="15220"/>
                  </a:lnTo>
                  <a:cubicBezTo>
                    <a:pt x="13219" y="15220"/>
                    <a:pt x="9815" y="16049"/>
                    <a:pt x="9815" y="16049"/>
                  </a:cubicBezTo>
                  <a:lnTo>
                    <a:pt x="10222" y="18239"/>
                  </a:lnTo>
                  <a:lnTo>
                    <a:pt x="1723" y="20338"/>
                  </a:lnTo>
                  <a:lnTo>
                    <a:pt x="908" y="15944"/>
                  </a:lnTo>
                  <a:lnTo>
                    <a:pt x="16076" y="12248"/>
                  </a:lnTo>
                  <a:cubicBezTo>
                    <a:pt x="16076" y="12249"/>
                    <a:pt x="18931" y="4332"/>
                    <a:pt x="19860" y="175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46" name="Shape 34214">
              <a:extLst>
                <a:ext uri="{FF2B5EF4-FFF2-40B4-BE49-F238E27FC236}">
                  <a16:creationId xmlns:a16="http://schemas.microsoft.com/office/drawing/2014/main" id="{339E7C8F-1C6E-E647-B4F2-CE0003905618}"/>
                </a:ext>
              </a:extLst>
            </p:cNvPr>
            <p:cNvSpPr/>
            <p:nvPr/>
          </p:nvSpPr>
          <p:spPr>
            <a:xfrm>
              <a:off x="12406836" y="10620127"/>
              <a:ext cx="516758" cy="57204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sz="5065" dirty="0">
                <a:latin typeface="Lato Light" panose="020F0502020204030203" pitchFamily="34" charset="0"/>
              </a:endParaRPr>
            </a:p>
          </p:txBody>
        </p:sp>
        <p:sp>
          <p:nvSpPr>
            <p:cNvPr id="47" name="Shape 34215">
              <a:extLst>
                <a:ext uri="{FF2B5EF4-FFF2-40B4-BE49-F238E27FC236}">
                  <a16:creationId xmlns:a16="http://schemas.microsoft.com/office/drawing/2014/main" id="{7A49DFD1-CED9-F249-9964-18B5A7469933}"/>
                </a:ext>
              </a:extLst>
            </p:cNvPr>
            <p:cNvSpPr/>
            <p:nvPr/>
          </p:nvSpPr>
          <p:spPr>
            <a:xfrm>
              <a:off x="15192453" y="5780593"/>
              <a:ext cx="475406" cy="475406"/>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53592" tIns="53592" rIns="53592" bIns="53592" numCol="1" anchor="ctr">
              <a:noAutofit/>
            </a:bodyPr>
            <a:lstStyle/>
            <a:p>
              <a:endParaRPr sz="5065" dirty="0">
                <a:latin typeface="Lato Light" panose="020F0502020204030203" pitchFamily="34" charset="0"/>
              </a:endParaRPr>
            </a:p>
          </p:txBody>
        </p:sp>
        <p:sp>
          <p:nvSpPr>
            <p:cNvPr id="48" name="Shape 34216">
              <a:extLst>
                <a:ext uri="{FF2B5EF4-FFF2-40B4-BE49-F238E27FC236}">
                  <a16:creationId xmlns:a16="http://schemas.microsoft.com/office/drawing/2014/main" id="{952B6C61-B9F7-5144-AA07-4705E7DDFE75}"/>
                </a:ext>
              </a:extLst>
            </p:cNvPr>
            <p:cNvSpPr/>
            <p:nvPr/>
          </p:nvSpPr>
          <p:spPr>
            <a:xfrm>
              <a:off x="11916931" y="8191128"/>
              <a:ext cx="792292" cy="544702"/>
            </a:xfrm>
            <a:custGeom>
              <a:avLst/>
              <a:gdLst/>
              <a:ahLst/>
              <a:cxnLst>
                <a:cxn ang="0">
                  <a:pos x="wd2" y="hd2"/>
                </a:cxn>
                <a:cxn ang="5400000">
                  <a:pos x="wd2" y="hd2"/>
                </a:cxn>
                <a:cxn ang="10800000">
                  <a:pos x="wd2" y="hd2"/>
                </a:cxn>
                <a:cxn ang="16200000">
                  <a:pos x="wd2" y="hd2"/>
                </a:cxn>
              </a:cxnLst>
              <a:rect l="0" t="0" r="r" b="b"/>
              <a:pathLst>
                <a:path w="21600" h="21600" extrusionOk="0">
                  <a:moveTo>
                    <a:pt x="14829" y="10800"/>
                  </a:moveTo>
                  <a:lnTo>
                    <a:pt x="14850" y="5891"/>
                  </a:lnTo>
                  <a:lnTo>
                    <a:pt x="18865" y="5891"/>
                  </a:lnTo>
                  <a:lnTo>
                    <a:pt x="20250" y="10800"/>
                  </a:lnTo>
                  <a:lnTo>
                    <a:pt x="14829" y="10800"/>
                  </a:lnTo>
                  <a:close/>
                  <a:moveTo>
                    <a:pt x="20250" y="5564"/>
                  </a:moveTo>
                  <a:cubicBezTo>
                    <a:pt x="19879" y="3856"/>
                    <a:pt x="18900" y="3919"/>
                    <a:pt x="18900" y="3919"/>
                  </a:cubicBezTo>
                  <a:lnTo>
                    <a:pt x="13495" y="3919"/>
                  </a:lnTo>
                  <a:lnTo>
                    <a:pt x="13495" y="18655"/>
                  </a:lnTo>
                  <a:lnTo>
                    <a:pt x="15525" y="18655"/>
                  </a:lnTo>
                  <a:cubicBezTo>
                    <a:pt x="15527" y="14736"/>
                    <a:pt x="16734" y="14727"/>
                    <a:pt x="18225" y="14728"/>
                  </a:cubicBezTo>
                  <a:cubicBezTo>
                    <a:pt x="19716" y="14728"/>
                    <a:pt x="20918" y="14757"/>
                    <a:pt x="20924" y="18655"/>
                  </a:cubicBezTo>
                  <a:lnTo>
                    <a:pt x="21600" y="18655"/>
                  </a:lnTo>
                  <a:lnTo>
                    <a:pt x="21600" y="10817"/>
                  </a:lnTo>
                  <a:cubicBezTo>
                    <a:pt x="21600" y="10817"/>
                    <a:pt x="20621" y="7272"/>
                    <a:pt x="20250" y="5564"/>
                  </a:cubicBezTo>
                  <a:close/>
                  <a:moveTo>
                    <a:pt x="12690" y="1964"/>
                  </a:moveTo>
                  <a:lnTo>
                    <a:pt x="12690" y="18655"/>
                  </a:lnTo>
                  <a:lnTo>
                    <a:pt x="6750" y="18655"/>
                  </a:lnTo>
                  <a:cubicBezTo>
                    <a:pt x="6750" y="14728"/>
                    <a:pt x="5541" y="14728"/>
                    <a:pt x="4050" y="14728"/>
                  </a:cubicBezTo>
                  <a:cubicBezTo>
                    <a:pt x="2559" y="14728"/>
                    <a:pt x="1350" y="14728"/>
                    <a:pt x="1350" y="18655"/>
                  </a:cubicBezTo>
                  <a:lnTo>
                    <a:pt x="0" y="18655"/>
                  </a:lnTo>
                  <a:lnTo>
                    <a:pt x="0" y="1964"/>
                  </a:lnTo>
                  <a:cubicBezTo>
                    <a:pt x="0" y="1421"/>
                    <a:pt x="151" y="931"/>
                    <a:pt x="395" y="575"/>
                  </a:cubicBezTo>
                  <a:cubicBezTo>
                    <a:pt x="640" y="220"/>
                    <a:pt x="977" y="0"/>
                    <a:pt x="1350" y="0"/>
                  </a:cubicBezTo>
                  <a:lnTo>
                    <a:pt x="11340" y="0"/>
                  </a:lnTo>
                  <a:cubicBezTo>
                    <a:pt x="11713" y="0"/>
                    <a:pt x="12050" y="220"/>
                    <a:pt x="12295" y="575"/>
                  </a:cubicBezTo>
                  <a:cubicBezTo>
                    <a:pt x="12539" y="931"/>
                    <a:pt x="12690" y="1421"/>
                    <a:pt x="12690" y="1964"/>
                  </a:cubicBezTo>
                  <a:close/>
                  <a:moveTo>
                    <a:pt x="4050" y="19636"/>
                  </a:moveTo>
                  <a:cubicBezTo>
                    <a:pt x="3677" y="19636"/>
                    <a:pt x="3375" y="19197"/>
                    <a:pt x="3375" y="18655"/>
                  </a:cubicBezTo>
                  <a:cubicBezTo>
                    <a:pt x="3375" y="18112"/>
                    <a:pt x="3677" y="17673"/>
                    <a:pt x="4050" y="17673"/>
                  </a:cubicBezTo>
                  <a:cubicBezTo>
                    <a:pt x="4423" y="17673"/>
                    <a:pt x="4725" y="18112"/>
                    <a:pt x="4725" y="18655"/>
                  </a:cubicBezTo>
                  <a:cubicBezTo>
                    <a:pt x="4725" y="19197"/>
                    <a:pt x="4423" y="19636"/>
                    <a:pt x="4050" y="19636"/>
                  </a:cubicBezTo>
                  <a:close/>
                  <a:moveTo>
                    <a:pt x="4050" y="15709"/>
                  </a:moveTo>
                  <a:cubicBezTo>
                    <a:pt x="2932" y="15709"/>
                    <a:pt x="2025" y="17028"/>
                    <a:pt x="2025" y="18655"/>
                  </a:cubicBezTo>
                  <a:cubicBezTo>
                    <a:pt x="2025" y="20281"/>
                    <a:pt x="2932" y="21600"/>
                    <a:pt x="4050" y="21600"/>
                  </a:cubicBezTo>
                  <a:cubicBezTo>
                    <a:pt x="5168" y="21600"/>
                    <a:pt x="6075" y="20281"/>
                    <a:pt x="6075" y="18655"/>
                  </a:cubicBezTo>
                  <a:cubicBezTo>
                    <a:pt x="6075" y="17028"/>
                    <a:pt x="5168" y="15709"/>
                    <a:pt x="4050" y="15709"/>
                  </a:cubicBezTo>
                  <a:close/>
                  <a:moveTo>
                    <a:pt x="18225" y="19636"/>
                  </a:moveTo>
                  <a:cubicBezTo>
                    <a:pt x="17852" y="19636"/>
                    <a:pt x="17550" y="19197"/>
                    <a:pt x="17550" y="18655"/>
                  </a:cubicBezTo>
                  <a:cubicBezTo>
                    <a:pt x="17550" y="18112"/>
                    <a:pt x="17852" y="17673"/>
                    <a:pt x="18225" y="17673"/>
                  </a:cubicBezTo>
                  <a:cubicBezTo>
                    <a:pt x="18598" y="17673"/>
                    <a:pt x="18900" y="18112"/>
                    <a:pt x="18900" y="18655"/>
                  </a:cubicBezTo>
                  <a:cubicBezTo>
                    <a:pt x="18900" y="19197"/>
                    <a:pt x="18598" y="19636"/>
                    <a:pt x="18225" y="19636"/>
                  </a:cubicBezTo>
                  <a:close/>
                  <a:moveTo>
                    <a:pt x="18225" y="15709"/>
                  </a:moveTo>
                  <a:cubicBezTo>
                    <a:pt x="17107" y="15709"/>
                    <a:pt x="16200" y="17028"/>
                    <a:pt x="16200" y="18655"/>
                  </a:cubicBezTo>
                  <a:cubicBezTo>
                    <a:pt x="16200" y="20281"/>
                    <a:pt x="17107" y="21600"/>
                    <a:pt x="18225" y="21600"/>
                  </a:cubicBezTo>
                  <a:cubicBezTo>
                    <a:pt x="19343" y="21600"/>
                    <a:pt x="20250" y="20281"/>
                    <a:pt x="20250" y="18655"/>
                  </a:cubicBezTo>
                  <a:cubicBezTo>
                    <a:pt x="20250" y="17028"/>
                    <a:pt x="19343" y="15709"/>
                    <a:pt x="18225" y="15709"/>
                  </a:cubicBezTo>
                  <a:close/>
                </a:path>
              </a:pathLst>
            </a:custGeom>
            <a:solidFill>
              <a:schemeClr val="bg1">
                <a:lumMod val="85000"/>
              </a:schemeClr>
            </a:solidFill>
            <a:ln w="12700" cap="flat">
              <a:noFill/>
              <a:miter lim="400000"/>
            </a:ln>
            <a:effectLst/>
          </p:spPr>
          <p:txBody>
            <a:bodyPr wrap="square" lIns="53592" tIns="53592" rIns="53592" bIns="53592" numCol="1" anchor="b">
              <a:noAutofit/>
            </a:bodyPr>
            <a:lstStyle/>
            <a:p>
              <a:endParaRPr sz="5065" dirty="0">
                <a:latin typeface="Lato Light" panose="020F0502020204030203" pitchFamily="34" charset="0"/>
              </a:endParaRPr>
            </a:p>
          </p:txBody>
        </p:sp>
        <p:sp>
          <p:nvSpPr>
            <p:cNvPr id="49" name="Shape 34217">
              <a:extLst>
                <a:ext uri="{FF2B5EF4-FFF2-40B4-BE49-F238E27FC236}">
                  <a16:creationId xmlns:a16="http://schemas.microsoft.com/office/drawing/2014/main" id="{CB224FB1-E3FB-F843-8CBC-0F6DEA85B2F6}"/>
                </a:ext>
              </a:extLst>
            </p:cNvPr>
            <p:cNvSpPr/>
            <p:nvPr/>
          </p:nvSpPr>
          <p:spPr>
            <a:xfrm>
              <a:off x="12395335" y="3740451"/>
              <a:ext cx="693544" cy="915782"/>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tx2"/>
            </a:solidFill>
            <a:ln w="12700" cap="flat">
              <a:noFill/>
              <a:miter lim="400000"/>
            </a:ln>
            <a:effectLst/>
          </p:spPr>
          <p:txBody>
            <a:bodyPr wrap="square" lIns="0" tIns="0" rIns="0" bIns="0" numCol="1" anchor="b">
              <a:noAutofit/>
            </a:bodyPr>
            <a:lstStyle/>
            <a:p>
              <a:endParaRPr sz="5065" dirty="0">
                <a:latin typeface="Lato Light" panose="020F0502020204030203" pitchFamily="34" charset="0"/>
              </a:endParaRPr>
            </a:p>
          </p:txBody>
        </p:sp>
        <p:sp>
          <p:nvSpPr>
            <p:cNvPr id="50" name="Shape 34218">
              <a:extLst>
                <a:ext uri="{FF2B5EF4-FFF2-40B4-BE49-F238E27FC236}">
                  <a16:creationId xmlns:a16="http://schemas.microsoft.com/office/drawing/2014/main" id="{90FCB8C1-A0D6-F24E-A8BB-8C396FEFF909}"/>
                </a:ext>
              </a:extLst>
            </p:cNvPr>
            <p:cNvSpPr/>
            <p:nvPr/>
          </p:nvSpPr>
          <p:spPr>
            <a:xfrm>
              <a:off x="11932702" y="12638103"/>
              <a:ext cx="408708" cy="303434"/>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837" y="8637"/>
                  </a:lnTo>
                  <a:lnTo>
                    <a:pt x="17837" y="12781"/>
                  </a:lnTo>
                  <a:cubicBezTo>
                    <a:pt x="17837" y="13798"/>
                    <a:pt x="17539" y="14723"/>
                    <a:pt x="17049" y="15392"/>
                  </a:cubicBezTo>
                  <a:cubicBezTo>
                    <a:pt x="16550" y="16075"/>
                    <a:pt x="15855" y="16492"/>
                    <a:pt x="15079" y="16478"/>
                  </a:cubicBezTo>
                  <a:lnTo>
                    <a:pt x="9158" y="16478"/>
                  </a:lnTo>
                  <a:lnTo>
                    <a:pt x="9158" y="17810"/>
                  </a:lnTo>
                  <a:cubicBezTo>
                    <a:pt x="9158" y="18368"/>
                    <a:pt x="9328" y="18874"/>
                    <a:pt x="9602" y="19240"/>
                  </a:cubicBezTo>
                  <a:cubicBezTo>
                    <a:pt x="9876" y="19606"/>
                    <a:pt x="10255" y="19832"/>
                    <a:pt x="10673" y="19832"/>
                  </a:cubicBezTo>
                  <a:lnTo>
                    <a:pt x="16728" y="19832"/>
                  </a:lnTo>
                  <a:lnTo>
                    <a:pt x="19181" y="21600"/>
                  </a:lnTo>
                  <a:lnTo>
                    <a:pt x="19181" y="19832"/>
                  </a:lnTo>
                  <a:lnTo>
                    <a:pt x="20085" y="19832"/>
                  </a:lnTo>
                  <a:cubicBezTo>
                    <a:pt x="20503" y="19832"/>
                    <a:pt x="20882" y="19606"/>
                    <a:pt x="21156" y="19240"/>
                  </a:cubicBezTo>
                  <a:cubicBezTo>
                    <a:pt x="21430" y="18874"/>
                    <a:pt x="21600" y="18368"/>
                    <a:pt x="21600" y="17810"/>
                  </a:cubicBezTo>
                  <a:lnTo>
                    <a:pt x="21600" y="10554"/>
                  </a:lnTo>
                  <a:cubicBezTo>
                    <a:pt x="21600" y="9996"/>
                    <a:pt x="21430" y="9490"/>
                    <a:pt x="21156" y="9125"/>
                  </a:cubicBezTo>
                  <a:cubicBezTo>
                    <a:pt x="20882" y="8759"/>
                    <a:pt x="20503" y="8532"/>
                    <a:pt x="20085" y="8532"/>
                  </a:cubicBezTo>
                  <a:close/>
                  <a:moveTo>
                    <a:pt x="6912" y="15450"/>
                  </a:moveTo>
                  <a:lnTo>
                    <a:pt x="6689" y="15450"/>
                  </a:lnTo>
                  <a:lnTo>
                    <a:pt x="2592" y="18372"/>
                  </a:lnTo>
                  <a:lnTo>
                    <a:pt x="2592" y="15450"/>
                  </a:lnTo>
                  <a:lnTo>
                    <a:pt x="2074" y="15450"/>
                  </a:lnTo>
                  <a:cubicBezTo>
                    <a:pt x="1501" y="15450"/>
                    <a:pt x="983" y="15141"/>
                    <a:pt x="607" y="14640"/>
                  </a:cubicBezTo>
                  <a:cubicBezTo>
                    <a:pt x="232" y="14139"/>
                    <a:pt x="0" y="13447"/>
                    <a:pt x="0" y="12683"/>
                  </a:cubicBezTo>
                  <a:lnTo>
                    <a:pt x="0" y="2767"/>
                  </a:lnTo>
                  <a:cubicBezTo>
                    <a:pt x="0" y="2003"/>
                    <a:pt x="232" y="1311"/>
                    <a:pt x="607" y="811"/>
                  </a:cubicBezTo>
                  <a:cubicBezTo>
                    <a:pt x="983" y="310"/>
                    <a:pt x="1501" y="0"/>
                    <a:pt x="2074" y="0"/>
                  </a:cubicBezTo>
                  <a:lnTo>
                    <a:pt x="15034" y="0"/>
                  </a:lnTo>
                  <a:cubicBezTo>
                    <a:pt x="15606" y="0"/>
                    <a:pt x="16125" y="310"/>
                    <a:pt x="16500" y="811"/>
                  </a:cubicBezTo>
                  <a:cubicBezTo>
                    <a:pt x="16875" y="1311"/>
                    <a:pt x="17107" y="2003"/>
                    <a:pt x="17107" y="2767"/>
                  </a:cubicBezTo>
                  <a:lnTo>
                    <a:pt x="17107" y="4381"/>
                  </a:lnTo>
                  <a:lnTo>
                    <a:pt x="17107" y="8532"/>
                  </a:lnTo>
                  <a:lnTo>
                    <a:pt x="17107" y="12676"/>
                  </a:lnTo>
                  <a:cubicBezTo>
                    <a:pt x="17107" y="13441"/>
                    <a:pt x="16886" y="14134"/>
                    <a:pt x="16522" y="14637"/>
                  </a:cubicBezTo>
                  <a:cubicBezTo>
                    <a:pt x="16159" y="15139"/>
                    <a:pt x="15651" y="15450"/>
                    <a:pt x="15079" y="15450"/>
                  </a:cubicBezTo>
                  <a:lnTo>
                    <a:pt x="9158" y="15450"/>
                  </a:lnTo>
                  <a:lnTo>
                    <a:pt x="6912" y="15450"/>
                  </a:lnTo>
                  <a:close/>
                </a:path>
              </a:pathLst>
            </a:custGeom>
            <a:solidFill>
              <a:schemeClr val="bg1">
                <a:lumMod val="85000"/>
              </a:schemeClr>
            </a:solidFill>
            <a:ln w="12700" cap="flat">
              <a:noFill/>
              <a:miter lim="400000"/>
            </a:ln>
            <a:effectLst/>
          </p:spPr>
          <p:txBody>
            <a:bodyPr wrap="square" lIns="0" tIns="0" rIns="0" bIns="0" numCol="1" anchor="b">
              <a:noAutofit/>
            </a:bodyPr>
            <a:lstStyle/>
            <a:p>
              <a:endParaRPr sz="5065" dirty="0">
                <a:latin typeface="Lato Light" panose="020F0502020204030203" pitchFamily="34" charset="0"/>
              </a:endParaRPr>
            </a:p>
          </p:txBody>
        </p:sp>
        <p:sp>
          <p:nvSpPr>
            <p:cNvPr id="51" name="Shape 34219">
              <a:extLst>
                <a:ext uri="{FF2B5EF4-FFF2-40B4-BE49-F238E27FC236}">
                  <a16:creationId xmlns:a16="http://schemas.microsoft.com/office/drawing/2014/main" id="{1DE31CC5-A74C-8D45-9544-61F10607D90B}"/>
                </a:ext>
              </a:extLst>
            </p:cNvPr>
            <p:cNvSpPr/>
            <p:nvPr/>
          </p:nvSpPr>
          <p:spPr>
            <a:xfrm>
              <a:off x="11196245" y="10659511"/>
              <a:ext cx="389798" cy="479750"/>
            </a:xfrm>
            <a:custGeom>
              <a:avLst/>
              <a:gdLst/>
              <a:ahLst/>
              <a:cxnLst>
                <a:cxn ang="0">
                  <a:pos x="wd2" y="hd2"/>
                </a:cxn>
                <a:cxn ang="5400000">
                  <a:pos x="wd2" y="hd2"/>
                </a:cxn>
                <a:cxn ang="10800000">
                  <a:pos x="wd2" y="hd2"/>
                </a:cxn>
                <a:cxn ang="16200000">
                  <a:pos x="wd2" y="hd2"/>
                </a:cxn>
              </a:cxnLst>
              <a:rect l="0" t="0" r="r" b="b"/>
              <a:pathLst>
                <a:path w="21600" h="21600" extrusionOk="0">
                  <a:moveTo>
                    <a:pt x="831" y="0"/>
                  </a:moveTo>
                  <a:cubicBezTo>
                    <a:pt x="372" y="0"/>
                    <a:pt x="0" y="302"/>
                    <a:pt x="0" y="675"/>
                  </a:cubicBezTo>
                  <a:cubicBezTo>
                    <a:pt x="0" y="1048"/>
                    <a:pt x="372" y="1350"/>
                    <a:pt x="831" y="1350"/>
                  </a:cubicBezTo>
                  <a:lnTo>
                    <a:pt x="20769" y="1350"/>
                  </a:lnTo>
                  <a:cubicBezTo>
                    <a:pt x="21228" y="1350"/>
                    <a:pt x="21600" y="1048"/>
                    <a:pt x="21600" y="675"/>
                  </a:cubicBezTo>
                  <a:cubicBezTo>
                    <a:pt x="21600" y="302"/>
                    <a:pt x="21228" y="0"/>
                    <a:pt x="20769" y="0"/>
                  </a:cubicBezTo>
                  <a:lnTo>
                    <a:pt x="831" y="0"/>
                  </a:lnTo>
                  <a:close/>
                  <a:moveTo>
                    <a:pt x="831" y="2025"/>
                  </a:moveTo>
                  <a:lnTo>
                    <a:pt x="831" y="15525"/>
                  </a:lnTo>
                  <a:cubicBezTo>
                    <a:pt x="831" y="15525"/>
                    <a:pt x="20769" y="15525"/>
                    <a:pt x="20769" y="15525"/>
                  </a:cubicBezTo>
                  <a:lnTo>
                    <a:pt x="20769" y="2025"/>
                  </a:lnTo>
                  <a:lnTo>
                    <a:pt x="831" y="2025"/>
                  </a:lnTo>
                  <a:close/>
                  <a:moveTo>
                    <a:pt x="15785" y="4050"/>
                  </a:moveTo>
                  <a:lnTo>
                    <a:pt x="18277" y="4050"/>
                  </a:lnTo>
                  <a:cubicBezTo>
                    <a:pt x="18277" y="4050"/>
                    <a:pt x="18277" y="13500"/>
                    <a:pt x="18277" y="13500"/>
                  </a:cubicBezTo>
                  <a:lnTo>
                    <a:pt x="15785" y="13500"/>
                  </a:lnTo>
                  <a:lnTo>
                    <a:pt x="15785" y="4050"/>
                  </a:lnTo>
                  <a:close/>
                  <a:moveTo>
                    <a:pt x="7477" y="6750"/>
                  </a:moveTo>
                  <a:lnTo>
                    <a:pt x="9969" y="6750"/>
                  </a:lnTo>
                  <a:cubicBezTo>
                    <a:pt x="9969" y="6750"/>
                    <a:pt x="9969" y="13500"/>
                    <a:pt x="9969" y="13500"/>
                  </a:cubicBezTo>
                  <a:lnTo>
                    <a:pt x="7477" y="13500"/>
                  </a:lnTo>
                  <a:lnTo>
                    <a:pt x="7477" y="6750"/>
                  </a:lnTo>
                  <a:close/>
                  <a:moveTo>
                    <a:pt x="11631" y="8775"/>
                  </a:moveTo>
                  <a:lnTo>
                    <a:pt x="14123" y="8775"/>
                  </a:lnTo>
                  <a:cubicBezTo>
                    <a:pt x="14123" y="8775"/>
                    <a:pt x="14123" y="13500"/>
                    <a:pt x="14123" y="13500"/>
                  </a:cubicBezTo>
                  <a:lnTo>
                    <a:pt x="11631" y="13500"/>
                  </a:lnTo>
                  <a:lnTo>
                    <a:pt x="11631" y="8775"/>
                  </a:lnTo>
                  <a:close/>
                  <a:moveTo>
                    <a:pt x="3323" y="10800"/>
                  </a:moveTo>
                  <a:lnTo>
                    <a:pt x="5815" y="10800"/>
                  </a:lnTo>
                  <a:cubicBezTo>
                    <a:pt x="5815" y="10800"/>
                    <a:pt x="5815" y="13500"/>
                    <a:pt x="5815" y="13500"/>
                  </a:cubicBezTo>
                  <a:lnTo>
                    <a:pt x="3323" y="13500"/>
                  </a:lnTo>
                  <a:lnTo>
                    <a:pt x="3323" y="10800"/>
                  </a:lnTo>
                  <a:close/>
                  <a:moveTo>
                    <a:pt x="3323" y="16200"/>
                  </a:moveTo>
                  <a:lnTo>
                    <a:pt x="1662" y="21600"/>
                  </a:lnTo>
                  <a:lnTo>
                    <a:pt x="3323" y="21600"/>
                  </a:lnTo>
                  <a:lnTo>
                    <a:pt x="4985" y="16200"/>
                  </a:lnTo>
                  <a:cubicBezTo>
                    <a:pt x="4985" y="16200"/>
                    <a:pt x="3323" y="16200"/>
                    <a:pt x="3323" y="16200"/>
                  </a:cubicBezTo>
                  <a:close/>
                  <a:moveTo>
                    <a:pt x="9969" y="16200"/>
                  </a:moveTo>
                  <a:lnTo>
                    <a:pt x="9969" y="21600"/>
                  </a:lnTo>
                  <a:lnTo>
                    <a:pt x="11615" y="21600"/>
                  </a:lnTo>
                  <a:cubicBezTo>
                    <a:pt x="11615" y="21600"/>
                    <a:pt x="11631" y="16200"/>
                    <a:pt x="11631" y="16200"/>
                  </a:cubicBezTo>
                  <a:lnTo>
                    <a:pt x="9969" y="16200"/>
                  </a:lnTo>
                  <a:close/>
                  <a:moveTo>
                    <a:pt x="16615" y="16200"/>
                  </a:moveTo>
                  <a:lnTo>
                    <a:pt x="18277" y="21600"/>
                  </a:lnTo>
                  <a:lnTo>
                    <a:pt x="19938" y="21600"/>
                  </a:lnTo>
                  <a:cubicBezTo>
                    <a:pt x="19938" y="21600"/>
                    <a:pt x="18277" y="16200"/>
                    <a:pt x="18277" y="16200"/>
                  </a:cubicBezTo>
                  <a:lnTo>
                    <a:pt x="16615" y="16200"/>
                  </a:lnTo>
                  <a:close/>
                </a:path>
              </a:pathLst>
            </a:custGeom>
            <a:solidFill>
              <a:srgbClr val="9ACFC8"/>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52" name="Shape 34220">
              <a:extLst>
                <a:ext uri="{FF2B5EF4-FFF2-40B4-BE49-F238E27FC236}">
                  <a16:creationId xmlns:a16="http://schemas.microsoft.com/office/drawing/2014/main" id="{A8BAC27C-E23F-A644-B590-193FD1040B2A}"/>
                </a:ext>
              </a:extLst>
            </p:cNvPr>
            <p:cNvSpPr/>
            <p:nvPr/>
          </p:nvSpPr>
          <p:spPr>
            <a:xfrm>
              <a:off x="12966575" y="6806559"/>
              <a:ext cx="589416" cy="778290"/>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sz="5065" dirty="0">
                <a:latin typeface="Lato Light" panose="020F0502020204030203" pitchFamily="34" charset="0"/>
              </a:endParaRPr>
            </a:p>
          </p:txBody>
        </p:sp>
        <p:sp>
          <p:nvSpPr>
            <p:cNvPr id="53" name="Shape 34221">
              <a:extLst>
                <a:ext uri="{FF2B5EF4-FFF2-40B4-BE49-F238E27FC236}">
                  <a16:creationId xmlns:a16="http://schemas.microsoft.com/office/drawing/2014/main" id="{FC5D1B1E-3A2D-D14A-BD07-DD707671B68B}"/>
                </a:ext>
              </a:extLst>
            </p:cNvPr>
            <p:cNvSpPr/>
            <p:nvPr/>
          </p:nvSpPr>
          <p:spPr>
            <a:xfrm>
              <a:off x="11922329" y="9268053"/>
              <a:ext cx="476450" cy="629124"/>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sz="5065" dirty="0">
                <a:latin typeface="Lato Light" panose="020F0502020204030203" pitchFamily="34" charset="0"/>
              </a:endParaRPr>
            </a:p>
          </p:txBody>
        </p:sp>
        <p:sp>
          <p:nvSpPr>
            <p:cNvPr id="54" name="Shape 34222">
              <a:extLst>
                <a:ext uri="{FF2B5EF4-FFF2-40B4-BE49-F238E27FC236}">
                  <a16:creationId xmlns:a16="http://schemas.microsoft.com/office/drawing/2014/main" id="{34087F0D-032D-2349-8EFA-C0046B49EED3}"/>
                </a:ext>
              </a:extLst>
            </p:cNvPr>
            <p:cNvSpPr/>
            <p:nvPr/>
          </p:nvSpPr>
          <p:spPr>
            <a:xfrm>
              <a:off x="11993787" y="10946019"/>
              <a:ext cx="447534" cy="447468"/>
            </a:xfrm>
            <a:custGeom>
              <a:avLst/>
              <a:gdLst/>
              <a:ahLst/>
              <a:cxnLst>
                <a:cxn ang="0">
                  <a:pos x="wd2" y="hd2"/>
                </a:cxn>
                <a:cxn ang="5400000">
                  <a:pos x="wd2" y="hd2"/>
                </a:cxn>
                <a:cxn ang="10800000">
                  <a:pos x="wd2" y="hd2"/>
                </a:cxn>
                <a:cxn ang="16200000">
                  <a:pos x="wd2" y="hd2"/>
                </a:cxn>
              </a:cxnLst>
              <a:rect l="0" t="0" r="r" b="b"/>
              <a:pathLst>
                <a:path w="21317" h="21317" extrusionOk="0">
                  <a:moveTo>
                    <a:pt x="7792" y="27"/>
                  </a:moveTo>
                  <a:cubicBezTo>
                    <a:pt x="7372" y="141"/>
                    <a:pt x="7122" y="573"/>
                    <a:pt x="7234" y="993"/>
                  </a:cubicBezTo>
                  <a:lnTo>
                    <a:pt x="7836" y="3244"/>
                  </a:lnTo>
                  <a:cubicBezTo>
                    <a:pt x="8357" y="3022"/>
                    <a:pt x="8864" y="2878"/>
                    <a:pt x="9346" y="2789"/>
                  </a:cubicBezTo>
                  <a:lnTo>
                    <a:pt x="8758" y="585"/>
                  </a:lnTo>
                  <a:cubicBezTo>
                    <a:pt x="8645" y="164"/>
                    <a:pt x="8213" y="-85"/>
                    <a:pt x="7792" y="27"/>
                  </a:cubicBezTo>
                  <a:close/>
                  <a:moveTo>
                    <a:pt x="13442" y="41"/>
                  </a:moveTo>
                  <a:cubicBezTo>
                    <a:pt x="13020" y="-71"/>
                    <a:pt x="12588" y="179"/>
                    <a:pt x="12475" y="600"/>
                  </a:cubicBezTo>
                  <a:lnTo>
                    <a:pt x="11888" y="2784"/>
                  </a:lnTo>
                  <a:cubicBezTo>
                    <a:pt x="12441" y="2878"/>
                    <a:pt x="12949" y="3027"/>
                    <a:pt x="13408" y="3203"/>
                  </a:cubicBezTo>
                  <a:lnTo>
                    <a:pt x="13998" y="1007"/>
                  </a:lnTo>
                  <a:cubicBezTo>
                    <a:pt x="14110" y="585"/>
                    <a:pt x="13862" y="154"/>
                    <a:pt x="13442" y="41"/>
                  </a:cubicBezTo>
                  <a:close/>
                  <a:moveTo>
                    <a:pt x="585" y="12411"/>
                  </a:moveTo>
                  <a:cubicBezTo>
                    <a:pt x="164" y="12524"/>
                    <a:pt x="-86" y="12956"/>
                    <a:pt x="27" y="13377"/>
                  </a:cubicBezTo>
                  <a:cubicBezTo>
                    <a:pt x="139" y="13798"/>
                    <a:pt x="571" y="14047"/>
                    <a:pt x="992" y="13934"/>
                  </a:cubicBezTo>
                  <a:lnTo>
                    <a:pt x="3181" y="13347"/>
                  </a:lnTo>
                  <a:cubicBezTo>
                    <a:pt x="3009" y="12885"/>
                    <a:pt x="2865" y="12376"/>
                    <a:pt x="2775" y="11823"/>
                  </a:cubicBezTo>
                  <a:cubicBezTo>
                    <a:pt x="2775" y="11823"/>
                    <a:pt x="585" y="12411"/>
                    <a:pt x="585" y="12411"/>
                  </a:cubicBezTo>
                  <a:close/>
                  <a:moveTo>
                    <a:pt x="1013" y="7169"/>
                  </a:moveTo>
                  <a:cubicBezTo>
                    <a:pt x="592" y="7056"/>
                    <a:pt x="160" y="7306"/>
                    <a:pt x="47" y="7727"/>
                  </a:cubicBezTo>
                  <a:cubicBezTo>
                    <a:pt x="-66" y="8148"/>
                    <a:pt x="184" y="8580"/>
                    <a:pt x="604" y="8692"/>
                  </a:cubicBezTo>
                  <a:lnTo>
                    <a:pt x="2805" y="9281"/>
                  </a:lnTo>
                  <a:cubicBezTo>
                    <a:pt x="2896" y="8799"/>
                    <a:pt x="3046" y="8293"/>
                    <a:pt x="3273" y="7773"/>
                  </a:cubicBezTo>
                  <a:cubicBezTo>
                    <a:pt x="3273" y="7773"/>
                    <a:pt x="1013" y="7169"/>
                    <a:pt x="1013" y="7169"/>
                  </a:cubicBezTo>
                  <a:close/>
                  <a:moveTo>
                    <a:pt x="2889" y="2841"/>
                  </a:moveTo>
                  <a:cubicBezTo>
                    <a:pt x="2581" y="3148"/>
                    <a:pt x="2580" y="3648"/>
                    <a:pt x="2888" y="3956"/>
                  </a:cubicBezTo>
                  <a:lnTo>
                    <a:pt x="4607" y="5675"/>
                  </a:lnTo>
                  <a:cubicBezTo>
                    <a:pt x="4732" y="5529"/>
                    <a:pt x="5572" y="4695"/>
                    <a:pt x="5727" y="4563"/>
                  </a:cubicBezTo>
                  <a:lnTo>
                    <a:pt x="4004" y="2840"/>
                  </a:lnTo>
                  <a:cubicBezTo>
                    <a:pt x="3696" y="2532"/>
                    <a:pt x="3197" y="2533"/>
                    <a:pt x="2889" y="2841"/>
                  </a:cubicBezTo>
                  <a:close/>
                  <a:moveTo>
                    <a:pt x="15285" y="5439"/>
                  </a:moveTo>
                  <a:cubicBezTo>
                    <a:pt x="13524" y="3930"/>
                    <a:pt x="9472" y="2164"/>
                    <a:pt x="5822" y="5814"/>
                  </a:cubicBezTo>
                  <a:cubicBezTo>
                    <a:pt x="5821" y="5815"/>
                    <a:pt x="5821" y="5815"/>
                    <a:pt x="5821" y="5816"/>
                  </a:cubicBezTo>
                  <a:cubicBezTo>
                    <a:pt x="5820" y="5816"/>
                    <a:pt x="5819" y="5817"/>
                    <a:pt x="5819" y="5817"/>
                  </a:cubicBezTo>
                  <a:cubicBezTo>
                    <a:pt x="5819" y="5818"/>
                    <a:pt x="5818" y="5818"/>
                    <a:pt x="5818" y="5819"/>
                  </a:cubicBezTo>
                  <a:cubicBezTo>
                    <a:pt x="5817" y="5819"/>
                    <a:pt x="5817" y="5820"/>
                    <a:pt x="5816" y="5820"/>
                  </a:cubicBezTo>
                  <a:cubicBezTo>
                    <a:pt x="2166" y="9471"/>
                    <a:pt x="3932" y="13524"/>
                    <a:pt x="5440" y="15285"/>
                  </a:cubicBezTo>
                  <a:cubicBezTo>
                    <a:pt x="6807" y="16868"/>
                    <a:pt x="9202" y="17222"/>
                    <a:pt x="9535" y="17322"/>
                  </a:cubicBezTo>
                  <a:cubicBezTo>
                    <a:pt x="10076" y="17484"/>
                    <a:pt x="12612" y="17632"/>
                    <a:pt x="13467" y="18402"/>
                  </a:cubicBezTo>
                  <a:cubicBezTo>
                    <a:pt x="14644" y="19461"/>
                    <a:pt x="14810" y="19354"/>
                    <a:pt x="15487" y="18942"/>
                  </a:cubicBezTo>
                  <a:cubicBezTo>
                    <a:pt x="16178" y="18522"/>
                    <a:pt x="18522" y="16178"/>
                    <a:pt x="18942" y="15487"/>
                  </a:cubicBezTo>
                  <a:cubicBezTo>
                    <a:pt x="19354" y="14810"/>
                    <a:pt x="19461" y="14644"/>
                    <a:pt x="18401" y="13467"/>
                  </a:cubicBezTo>
                  <a:cubicBezTo>
                    <a:pt x="17632" y="12612"/>
                    <a:pt x="17484" y="10075"/>
                    <a:pt x="17321" y="9534"/>
                  </a:cubicBezTo>
                  <a:cubicBezTo>
                    <a:pt x="17222" y="9201"/>
                    <a:pt x="16868" y="6805"/>
                    <a:pt x="15285" y="5439"/>
                  </a:cubicBezTo>
                  <a:close/>
                  <a:moveTo>
                    <a:pt x="20706" y="16780"/>
                  </a:moveTo>
                  <a:cubicBezTo>
                    <a:pt x="20530" y="16603"/>
                    <a:pt x="20243" y="16603"/>
                    <a:pt x="20066" y="16780"/>
                  </a:cubicBezTo>
                  <a:lnTo>
                    <a:pt x="16780" y="20067"/>
                  </a:lnTo>
                  <a:cubicBezTo>
                    <a:pt x="16603" y="20244"/>
                    <a:pt x="16603" y="20531"/>
                    <a:pt x="16780" y="20707"/>
                  </a:cubicBezTo>
                  <a:lnTo>
                    <a:pt x="16780" y="20707"/>
                  </a:lnTo>
                  <a:cubicBezTo>
                    <a:pt x="16956" y="20884"/>
                    <a:pt x="17243" y="20884"/>
                    <a:pt x="17419" y="20707"/>
                  </a:cubicBezTo>
                  <a:lnTo>
                    <a:pt x="20706" y="17420"/>
                  </a:lnTo>
                  <a:cubicBezTo>
                    <a:pt x="20883" y="17243"/>
                    <a:pt x="20883" y="16956"/>
                    <a:pt x="20706" y="16780"/>
                  </a:cubicBezTo>
                  <a:cubicBezTo>
                    <a:pt x="20706" y="16780"/>
                    <a:pt x="20706" y="16780"/>
                    <a:pt x="20706" y="16780"/>
                  </a:cubicBezTo>
                  <a:close/>
                  <a:moveTo>
                    <a:pt x="19833" y="15906"/>
                  </a:moveTo>
                  <a:cubicBezTo>
                    <a:pt x="19656" y="15729"/>
                    <a:pt x="19370" y="15730"/>
                    <a:pt x="19193" y="15906"/>
                  </a:cubicBezTo>
                  <a:lnTo>
                    <a:pt x="15906" y="19194"/>
                  </a:lnTo>
                  <a:cubicBezTo>
                    <a:pt x="15729" y="19370"/>
                    <a:pt x="15729" y="19657"/>
                    <a:pt x="15906" y="19833"/>
                  </a:cubicBezTo>
                  <a:lnTo>
                    <a:pt x="15906" y="19833"/>
                  </a:lnTo>
                  <a:cubicBezTo>
                    <a:pt x="16082" y="20010"/>
                    <a:pt x="16369" y="20010"/>
                    <a:pt x="16546" y="19833"/>
                  </a:cubicBezTo>
                  <a:lnTo>
                    <a:pt x="19833" y="16546"/>
                  </a:lnTo>
                  <a:cubicBezTo>
                    <a:pt x="20009" y="16369"/>
                    <a:pt x="20009" y="16083"/>
                    <a:pt x="19833" y="15906"/>
                  </a:cubicBezTo>
                  <a:cubicBezTo>
                    <a:pt x="19833" y="15906"/>
                    <a:pt x="19833" y="15906"/>
                    <a:pt x="19833" y="15906"/>
                  </a:cubicBezTo>
                  <a:close/>
                  <a:moveTo>
                    <a:pt x="17867" y="20727"/>
                  </a:moveTo>
                  <a:lnTo>
                    <a:pt x="20726" y="17867"/>
                  </a:lnTo>
                  <a:cubicBezTo>
                    <a:pt x="21514" y="18656"/>
                    <a:pt x="21513" y="19935"/>
                    <a:pt x="20724" y="20724"/>
                  </a:cubicBezTo>
                  <a:cubicBezTo>
                    <a:pt x="19934" y="21514"/>
                    <a:pt x="18655" y="21515"/>
                    <a:pt x="17867" y="20727"/>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sz="5065" dirty="0">
                <a:latin typeface="Lato Light" panose="020F0502020204030203" pitchFamily="34" charset="0"/>
              </a:endParaRPr>
            </a:p>
          </p:txBody>
        </p:sp>
        <p:sp>
          <p:nvSpPr>
            <p:cNvPr id="55" name="Shape 34223">
              <a:extLst>
                <a:ext uri="{FF2B5EF4-FFF2-40B4-BE49-F238E27FC236}">
                  <a16:creationId xmlns:a16="http://schemas.microsoft.com/office/drawing/2014/main" id="{C2323D4B-F57D-5B4C-AFB8-726E78172E1A}"/>
                </a:ext>
              </a:extLst>
            </p:cNvPr>
            <p:cNvSpPr/>
            <p:nvPr/>
          </p:nvSpPr>
          <p:spPr>
            <a:xfrm>
              <a:off x="11828592" y="12064076"/>
              <a:ext cx="446404" cy="410140"/>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56" name="Shape 34224">
              <a:extLst>
                <a:ext uri="{FF2B5EF4-FFF2-40B4-BE49-F238E27FC236}">
                  <a16:creationId xmlns:a16="http://schemas.microsoft.com/office/drawing/2014/main" id="{FDFD292B-5944-8248-A31E-98C55E86E665}"/>
                </a:ext>
              </a:extLst>
            </p:cNvPr>
            <p:cNvSpPr/>
            <p:nvPr/>
          </p:nvSpPr>
          <p:spPr>
            <a:xfrm>
              <a:off x="11467012" y="10972393"/>
              <a:ext cx="358632" cy="692850"/>
            </a:xfrm>
            <a:custGeom>
              <a:avLst/>
              <a:gdLst/>
              <a:ahLst/>
              <a:cxnLst>
                <a:cxn ang="0">
                  <a:pos x="wd2" y="hd2"/>
                </a:cxn>
                <a:cxn ang="5400000">
                  <a:pos x="wd2" y="hd2"/>
                </a:cxn>
                <a:cxn ang="10800000">
                  <a:pos x="wd2" y="hd2"/>
                </a:cxn>
                <a:cxn ang="16200000">
                  <a:pos x="wd2" y="hd2"/>
                </a:cxn>
              </a:cxnLst>
              <a:rect l="0" t="0" r="r" b="b"/>
              <a:pathLst>
                <a:path w="21436" h="21532" extrusionOk="0">
                  <a:moveTo>
                    <a:pt x="17698" y="0"/>
                  </a:moveTo>
                  <a:lnTo>
                    <a:pt x="16138" y="1685"/>
                  </a:lnTo>
                  <a:cubicBezTo>
                    <a:pt x="16052" y="1663"/>
                    <a:pt x="15626" y="1553"/>
                    <a:pt x="15626" y="1553"/>
                  </a:cubicBezTo>
                  <a:lnTo>
                    <a:pt x="14403" y="2878"/>
                  </a:lnTo>
                  <a:lnTo>
                    <a:pt x="14914" y="3010"/>
                  </a:lnTo>
                  <a:lnTo>
                    <a:pt x="14546" y="3408"/>
                  </a:lnTo>
                  <a:lnTo>
                    <a:pt x="2184" y="16751"/>
                  </a:lnTo>
                  <a:cubicBezTo>
                    <a:pt x="1744" y="17225"/>
                    <a:pt x="202" y="19746"/>
                    <a:pt x="516" y="20547"/>
                  </a:cubicBezTo>
                  <a:cubicBezTo>
                    <a:pt x="560" y="20662"/>
                    <a:pt x="644" y="20742"/>
                    <a:pt x="773" y="20775"/>
                  </a:cubicBezTo>
                  <a:cubicBezTo>
                    <a:pt x="1807" y="21040"/>
                    <a:pt x="5426" y="18252"/>
                    <a:pt x="5928" y="17710"/>
                  </a:cubicBezTo>
                  <a:lnTo>
                    <a:pt x="18283" y="4367"/>
                  </a:lnTo>
                  <a:lnTo>
                    <a:pt x="18652" y="3969"/>
                  </a:lnTo>
                  <a:lnTo>
                    <a:pt x="19186" y="4106"/>
                  </a:lnTo>
                  <a:lnTo>
                    <a:pt x="14380" y="9291"/>
                  </a:lnTo>
                  <a:lnTo>
                    <a:pt x="15147" y="9488"/>
                  </a:lnTo>
                  <a:lnTo>
                    <a:pt x="21176" y="2979"/>
                  </a:lnTo>
                  <a:cubicBezTo>
                    <a:pt x="21176" y="2979"/>
                    <a:pt x="20341" y="2767"/>
                    <a:pt x="19876" y="2647"/>
                  </a:cubicBezTo>
                  <a:lnTo>
                    <a:pt x="21436" y="963"/>
                  </a:lnTo>
                  <a:cubicBezTo>
                    <a:pt x="21436" y="963"/>
                    <a:pt x="17698" y="0"/>
                    <a:pt x="17698" y="0"/>
                  </a:cubicBezTo>
                  <a:close/>
                  <a:moveTo>
                    <a:pt x="516" y="20547"/>
                  </a:moveTo>
                  <a:cubicBezTo>
                    <a:pt x="504" y="20509"/>
                    <a:pt x="483" y="20481"/>
                    <a:pt x="479" y="20436"/>
                  </a:cubicBezTo>
                  <a:lnTo>
                    <a:pt x="223" y="20708"/>
                  </a:lnTo>
                  <a:cubicBezTo>
                    <a:pt x="120" y="20820"/>
                    <a:pt x="-164" y="21449"/>
                    <a:pt x="129" y="21525"/>
                  </a:cubicBezTo>
                  <a:cubicBezTo>
                    <a:pt x="423" y="21600"/>
                    <a:pt x="1188" y="21095"/>
                    <a:pt x="1291" y="20984"/>
                  </a:cubicBezTo>
                  <a:lnTo>
                    <a:pt x="1546" y="20707"/>
                  </a:lnTo>
                  <a:cubicBezTo>
                    <a:pt x="1228" y="20825"/>
                    <a:pt x="959" y="20878"/>
                    <a:pt x="774" y="20830"/>
                  </a:cubicBezTo>
                  <a:cubicBezTo>
                    <a:pt x="630" y="20793"/>
                    <a:pt x="555" y="20685"/>
                    <a:pt x="516" y="2054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57" name="Shape 34225">
              <a:extLst>
                <a:ext uri="{FF2B5EF4-FFF2-40B4-BE49-F238E27FC236}">
                  <a16:creationId xmlns:a16="http://schemas.microsoft.com/office/drawing/2014/main" id="{7D18342D-E1A8-A94C-8F52-133A65A7F471}"/>
                </a:ext>
              </a:extLst>
            </p:cNvPr>
            <p:cNvSpPr/>
            <p:nvPr/>
          </p:nvSpPr>
          <p:spPr>
            <a:xfrm>
              <a:off x="12788908" y="11202698"/>
              <a:ext cx="425116" cy="118066"/>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58" name="Shape 34226">
              <a:extLst>
                <a:ext uri="{FF2B5EF4-FFF2-40B4-BE49-F238E27FC236}">
                  <a16:creationId xmlns:a16="http://schemas.microsoft.com/office/drawing/2014/main" id="{F8C96475-E98C-B446-9077-0A5CC2FB1A0D}"/>
                </a:ext>
              </a:extLst>
            </p:cNvPr>
            <p:cNvSpPr/>
            <p:nvPr/>
          </p:nvSpPr>
          <p:spPr>
            <a:xfrm>
              <a:off x="12691600" y="7661988"/>
              <a:ext cx="463732" cy="545588"/>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59" name="Shape 34227">
              <a:extLst>
                <a:ext uri="{FF2B5EF4-FFF2-40B4-BE49-F238E27FC236}">
                  <a16:creationId xmlns:a16="http://schemas.microsoft.com/office/drawing/2014/main" id="{E0C044B4-3159-EE47-BE3E-41D5AE1E3825}"/>
                </a:ext>
              </a:extLst>
            </p:cNvPr>
            <p:cNvSpPr/>
            <p:nvPr/>
          </p:nvSpPr>
          <p:spPr>
            <a:xfrm>
              <a:off x="11861838" y="8796062"/>
              <a:ext cx="359648" cy="359648"/>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53592" tIns="53592" rIns="53592" bIns="53592" numCol="1" anchor="ctr">
              <a:noAutofit/>
            </a:bodyPr>
            <a:lstStyle/>
            <a:p>
              <a:endParaRPr sz="5065" dirty="0">
                <a:latin typeface="Lato Light" panose="020F0502020204030203" pitchFamily="34" charset="0"/>
              </a:endParaRPr>
            </a:p>
          </p:txBody>
        </p:sp>
        <p:sp>
          <p:nvSpPr>
            <p:cNvPr id="60" name="Shape 34228">
              <a:extLst>
                <a:ext uri="{FF2B5EF4-FFF2-40B4-BE49-F238E27FC236}">
                  <a16:creationId xmlns:a16="http://schemas.microsoft.com/office/drawing/2014/main" id="{16E52B23-1EA5-F244-A6E4-CB408619B494}"/>
                </a:ext>
              </a:extLst>
            </p:cNvPr>
            <p:cNvSpPr/>
            <p:nvPr/>
          </p:nvSpPr>
          <p:spPr>
            <a:xfrm>
              <a:off x="9057539" y="5652197"/>
              <a:ext cx="565072" cy="648758"/>
            </a:xfrm>
            <a:custGeom>
              <a:avLst/>
              <a:gdLst/>
              <a:ahLst/>
              <a:cxnLst>
                <a:cxn ang="0">
                  <a:pos x="wd2" y="hd2"/>
                </a:cxn>
                <a:cxn ang="5400000">
                  <a:pos x="wd2" y="hd2"/>
                </a:cxn>
                <a:cxn ang="10800000">
                  <a:pos x="wd2" y="hd2"/>
                </a:cxn>
                <a:cxn ang="16200000">
                  <a:pos x="wd2" y="hd2"/>
                </a:cxn>
              </a:cxnLst>
              <a:rect l="0" t="0" r="r" b="b"/>
              <a:pathLst>
                <a:path w="21600" h="21600" extrusionOk="0">
                  <a:moveTo>
                    <a:pt x="11390" y="0"/>
                  </a:moveTo>
                  <a:lnTo>
                    <a:pt x="0" y="14168"/>
                  </a:lnTo>
                  <a:lnTo>
                    <a:pt x="12187" y="21600"/>
                  </a:lnTo>
                  <a:lnTo>
                    <a:pt x="21600" y="9890"/>
                  </a:lnTo>
                  <a:lnTo>
                    <a:pt x="20767" y="5719"/>
                  </a:lnTo>
                  <a:lnTo>
                    <a:pt x="11390" y="0"/>
                  </a:lnTo>
                  <a:close/>
                  <a:moveTo>
                    <a:pt x="12641" y="5625"/>
                  </a:moveTo>
                  <a:lnTo>
                    <a:pt x="17079" y="8332"/>
                  </a:lnTo>
                  <a:lnTo>
                    <a:pt x="16765" y="8723"/>
                  </a:lnTo>
                  <a:lnTo>
                    <a:pt x="12326" y="6016"/>
                  </a:lnTo>
                  <a:lnTo>
                    <a:pt x="12641" y="5625"/>
                  </a:lnTo>
                  <a:close/>
                  <a:moveTo>
                    <a:pt x="7323" y="8127"/>
                  </a:moveTo>
                  <a:lnTo>
                    <a:pt x="16200" y="13540"/>
                  </a:lnTo>
                  <a:lnTo>
                    <a:pt x="15894" y="13920"/>
                  </a:lnTo>
                  <a:lnTo>
                    <a:pt x="7017" y="8506"/>
                  </a:lnTo>
                  <a:lnTo>
                    <a:pt x="7323" y="8127"/>
                  </a:lnTo>
                  <a:close/>
                  <a:moveTo>
                    <a:pt x="5778" y="10048"/>
                  </a:moveTo>
                  <a:lnTo>
                    <a:pt x="14655" y="15462"/>
                  </a:lnTo>
                  <a:lnTo>
                    <a:pt x="14340" y="15853"/>
                  </a:lnTo>
                  <a:lnTo>
                    <a:pt x="5463" y="10439"/>
                  </a:lnTo>
                  <a:lnTo>
                    <a:pt x="5778" y="10048"/>
                  </a:lnTo>
                  <a:close/>
                  <a:moveTo>
                    <a:pt x="4233" y="11970"/>
                  </a:moveTo>
                  <a:lnTo>
                    <a:pt x="8671" y="14677"/>
                  </a:lnTo>
                  <a:lnTo>
                    <a:pt x="8357" y="15068"/>
                  </a:lnTo>
                  <a:lnTo>
                    <a:pt x="3918" y="12361"/>
                  </a:lnTo>
                  <a:lnTo>
                    <a:pt x="4233" y="1197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61" name="Shape 34229">
              <a:extLst>
                <a:ext uri="{FF2B5EF4-FFF2-40B4-BE49-F238E27FC236}">
                  <a16:creationId xmlns:a16="http://schemas.microsoft.com/office/drawing/2014/main" id="{CDDC940C-C3D7-1B44-9E2F-5671DE0476A3}"/>
                </a:ext>
              </a:extLst>
            </p:cNvPr>
            <p:cNvSpPr/>
            <p:nvPr/>
          </p:nvSpPr>
          <p:spPr>
            <a:xfrm>
              <a:off x="14430703" y="5653180"/>
              <a:ext cx="678286" cy="609678"/>
            </a:xfrm>
            <a:custGeom>
              <a:avLst/>
              <a:gdLst/>
              <a:ahLst/>
              <a:cxnLst>
                <a:cxn ang="0">
                  <a:pos x="wd2" y="hd2"/>
                </a:cxn>
                <a:cxn ang="5400000">
                  <a:pos x="wd2" y="hd2"/>
                </a:cxn>
                <a:cxn ang="10800000">
                  <a:pos x="wd2" y="hd2"/>
                </a:cxn>
                <a:cxn ang="16200000">
                  <a:pos x="wd2" y="hd2"/>
                </a:cxn>
              </a:cxnLst>
              <a:rect l="0" t="0" r="r" b="b"/>
              <a:pathLst>
                <a:path w="21255" h="21217" extrusionOk="0">
                  <a:moveTo>
                    <a:pt x="16218" y="16859"/>
                  </a:moveTo>
                  <a:lnTo>
                    <a:pt x="3455" y="9002"/>
                  </a:lnTo>
                  <a:lnTo>
                    <a:pt x="7275" y="1347"/>
                  </a:lnTo>
                  <a:lnTo>
                    <a:pt x="20039" y="9205"/>
                  </a:lnTo>
                  <a:cubicBezTo>
                    <a:pt x="20039" y="9205"/>
                    <a:pt x="16218" y="16859"/>
                    <a:pt x="16218" y="16859"/>
                  </a:cubicBezTo>
                  <a:close/>
                  <a:moveTo>
                    <a:pt x="20627" y="8027"/>
                  </a:moveTo>
                  <a:lnTo>
                    <a:pt x="7863" y="170"/>
                  </a:lnTo>
                  <a:cubicBezTo>
                    <a:pt x="7275" y="-192"/>
                    <a:pt x="6536" y="43"/>
                    <a:pt x="6211" y="693"/>
                  </a:cubicBezTo>
                  <a:cubicBezTo>
                    <a:pt x="6211" y="693"/>
                    <a:pt x="1803" y="9525"/>
                    <a:pt x="1814" y="9531"/>
                  </a:cubicBezTo>
                  <a:lnTo>
                    <a:pt x="16683" y="18684"/>
                  </a:lnTo>
                  <a:cubicBezTo>
                    <a:pt x="16694" y="18691"/>
                    <a:pt x="21103" y="9860"/>
                    <a:pt x="21103" y="9860"/>
                  </a:cubicBezTo>
                  <a:cubicBezTo>
                    <a:pt x="21427" y="9210"/>
                    <a:pt x="21214" y="8389"/>
                    <a:pt x="20627" y="8027"/>
                  </a:cubicBezTo>
                  <a:close/>
                  <a:moveTo>
                    <a:pt x="15519" y="21047"/>
                  </a:moveTo>
                  <a:lnTo>
                    <a:pt x="628" y="11880"/>
                  </a:lnTo>
                  <a:cubicBezTo>
                    <a:pt x="40" y="11518"/>
                    <a:pt x="-173" y="10698"/>
                    <a:pt x="152" y="10047"/>
                  </a:cubicBezTo>
                  <a:lnTo>
                    <a:pt x="446" y="9459"/>
                  </a:lnTo>
                  <a:lnTo>
                    <a:pt x="7359" y="13714"/>
                  </a:lnTo>
                  <a:lnTo>
                    <a:pt x="7065" y="14303"/>
                  </a:lnTo>
                  <a:lnTo>
                    <a:pt x="10256" y="16268"/>
                  </a:lnTo>
                  <a:lnTo>
                    <a:pt x="10550" y="15679"/>
                  </a:lnTo>
                  <a:lnTo>
                    <a:pt x="17464" y="19935"/>
                  </a:lnTo>
                  <a:lnTo>
                    <a:pt x="17170" y="20524"/>
                  </a:lnTo>
                  <a:cubicBezTo>
                    <a:pt x="16846" y="21174"/>
                    <a:pt x="16106" y="21408"/>
                    <a:pt x="15519" y="21047"/>
                  </a:cubicBezTo>
                  <a:cubicBezTo>
                    <a:pt x="15519" y="21047"/>
                    <a:pt x="15519" y="21047"/>
                    <a:pt x="15519" y="2104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62" name="Shape 34230">
              <a:extLst>
                <a:ext uri="{FF2B5EF4-FFF2-40B4-BE49-F238E27FC236}">
                  <a16:creationId xmlns:a16="http://schemas.microsoft.com/office/drawing/2014/main" id="{AB2DF855-031B-E14D-BC86-8BC62CD9955F}"/>
                </a:ext>
              </a:extLst>
            </p:cNvPr>
            <p:cNvSpPr/>
            <p:nvPr/>
          </p:nvSpPr>
          <p:spPr>
            <a:xfrm>
              <a:off x="14217720" y="6775957"/>
              <a:ext cx="333440" cy="666878"/>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63" name="Shape 34231">
              <a:extLst>
                <a:ext uri="{FF2B5EF4-FFF2-40B4-BE49-F238E27FC236}">
                  <a16:creationId xmlns:a16="http://schemas.microsoft.com/office/drawing/2014/main" id="{0B0A6ECE-D2E2-F242-8861-E82FC00FF30D}"/>
                </a:ext>
              </a:extLst>
            </p:cNvPr>
            <p:cNvSpPr/>
            <p:nvPr/>
          </p:nvSpPr>
          <p:spPr>
            <a:xfrm>
              <a:off x="12484545" y="3228311"/>
              <a:ext cx="428100" cy="347868"/>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64" name="Shape 34232">
              <a:extLst>
                <a:ext uri="{FF2B5EF4-FFF2-40B4-BE49-F238E27FC236}">
                  <a16:creationId xmlns:a16="http://schemas.microsoft.com/office/drawing/2014/main" id="{82C0D2B6-F9EF-A84A-9E42-4616304DC77A}"/>
                </a:ext>
              </a:extLst>
            </p:cNvPr>
            <p:cNvSpPr/>
            <p:nvPr/>
          </p:nvSpPr>
          <p:spPr>
            <a:xfrm>
              <a:off x="11791096" y="11232556"/>
              <a:ext cx="130464" cy="279620"/>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65" name="Shape 34233">
              <a:extLst>
                <a:ext uri="{FF2B5EF4-FFF2-40B4-BE49-F238E27FC236}">
                  <a16:creationId xmlns:a16="http://schemas.microsoft.com/office/drawing/2014/main" id="{C1EFBF86-06EE-C24D-921A-6F434C9BFD6F}"/>
                </a:ext>
              </a:extLst>
            </p:cNvPr>
            <p:cNvSpPr/>
            <p:nvPr/>
          </p:nvSpPr>
          <p:spPr>
            <a:xfrm>
              <a:off x="11084739" y="4570184"/>
              <a:ext cx="304442" cy="392838"/>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66" name="Shape 34234">
              <a:extLst>
                <a:ext uri="{FF2B5EF4-FFF2-40B4-BE49-F238E27FC236}">
                  <a16:creationId xmlns:a16="http://schemas.microsoft.com/office/drawing/2014/main" id="{14A5613C-396B-C84D-BC6C-06D77F010302}"/>
                </a:ext>
              </a:extLst>
            </p:cNvPr>
            <p:cNvSpPr/>
            <p:nvPr/>
          </p:nvSpPr>
          <p:spPr>
            <a:xfrm>
              <a:off x="10710090" y="4258444"/>
              <a:ext cx="419088" cy="392838"/>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67" name="Shape 34235">
              <a:extLst>
                <a:ext uri="{FF2B5EF4-FFF2-40B4-BE49-F238E27FC236}">
                  <a16:creationId xmlns:a16="http://schemas.microsoft.com/office/drawing/2014/main" id="{F2B97C88-39B2-4D4D-896C-E80CBC63BAE2}"/>
                </a:ext>
              </a:extLst>
            </p:cNvPr>
            <p:cNvSpPr/>
            <p:nvPr/>
          </p:nvSpPr>
          <p:spPr>
            <a:xfrm>
              <a:off x="9790862" y="4363012"/>
              <a:ext cx="428100" cy="347868"/>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68" name="Shape 34236">
              <a:extLst>
                <a:ext uri="{FF2B5EF4-FFF2-40B4-BE49-F238E27FC236}">
                  <a16:creationId xmlns:a16="http://schemas.microsoft.com/office/drawing/2014/main" id="{368534EA-BF98-014D-B40B-1D44E1AB86FB}"/>
                </a:ext>
              </a:extLst>
            </p:cNvPr>
            <p:cNvSpPr/>
            <p:nvPr/>
          </p:nvSpPr>
          <p:spPr>
            <a:xfrm>
              <a:off x="12210021" y="7840631"/>
              <a:ext cx="346528" cy="281582"/>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69" name="Shape 34237">
              <a:extLst>
                <a:ext uri="{FF2B5EF4-FFF2-40B4-BE49-F238E27FC236}">
                  <a16:creationId xmlns:a16="http://schemas.microsoft.com/office/drawing/2014/main" id="{143A8F1A-331F-A34D-B178-97F86420B633}"/>
                </a:ext>
              </a:extLst>
            </p:cNvPr>
            <p:cNvSpPr/>
            <p:nvPr/>
          </p:nvSpPr>
          <p:spPr>
            <a:xfrm>
              <a:off x="11135547" y="9214788"/>
              <a:ext cx="163854" cy="351174"/>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70" name="Shape 34238">
              <a:extLst>
                <a:ext uri="{FF2B5EF4-FFF2-40B4-BE49-F238E27FC236}">
                  <a16:creationId xmlns:a16="http://schemas.microsoft.com/office/drawing/2014/main" id="{C59CC7A3-C4BC-5A4D-9D9B-7522B1DD2AF3}"/>
                </a:ext>
              </a:extLst>
            </p:cNvPr>
            <p:cNvSpPr/>
            <p:nvPr/>
          </p:nvSpPr>
          <p:spPr>
            <a:xfrm>
              <a:off x="13971261" y="7721068"/>
              <a:ext cx="163854" cy="351174"/>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71" name="Shape 34239">
              <a:extLst>
                <a:ext uri="{FF2B5EF4-FFF2-40B4-BE49-F238E27FC236}">
                  <a16:creationId xmlns:a16="http://schemas.microsoft.com/office/drawing/2014/main" id="{4514730E-6F81-DC4B-A69D-EFC4F39CB9A3}"/>
                </a:ext>
              </a:extLst>
            </p:cNvPr>
            <p:cNvSpPr/>
            <p:nvPr/>
          </p:nvSpPr>
          <p:spPr>
            <a:xfrm>
              <a:off x="13086555" y="5888971"/>
              <a:ext cx="304442" cy="392840"/>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72" name="Shape 34240">
              <a:extLst>
                <a:ext uri="{FF2B5EF4-FFF2-40B4-BE49-F238E27FC236}">
                  <a16:creationId xmlns:a16="http://schemas.microsoft.com/office/drawing/2014/main" id="{44B8648D-915F-F047-93FC-B975E6C34A3F}"/>
                </a:ext>
              </a:extLst>
            </p:cNvPr>
            <p:cNvSpPr/>
            <p:nvPr/>
          </p:nvSpPr>
          <p:spPr>
            <a:xfrm>
              <a:off x="12718729" y="8725244"/>
              <a:ext cx="218222" cy="281582"/>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73" name="Shape 34241">
              <a:extLst>
                <a:ext uri="{FF2B5EF4-FFF2-40B4-BE49-F238E27FC236}">
                  <a16:creationId xmlns:a16="http://schemas.microsoft.com/office/drawing/2014/main" id="{41CC0E54-8960-1140-ABBD-3550B625B73A}"/>
                </a:ext>
              </a:extLst>
            </p:cNvPr>
            <p:cNvSpPr/>
            <p:nvPr/>
          </p:nvSpPr>
          <p:spPr>
            <a:xfrm>
              <a:off x="11342014" y="7513407"/>
              <a:ext cx="272208" cy="366146"/>
            </a:xfrm>
            <a:custGeom>
              <a:avLst/>
              <a:gdLst/>
              <a:ahLst/>
              <a:cxnLst>
                <a:cxn ang="0">
                  <a:pos x="wd2" y="hd2"/>
                </a:cxn>
                <a:cxn ang="5400000">
                  <a:pos x="wd2" y="hd2"/>
                </a:cxn>
                <a:cxn ang="10800000">
                  <a:pos x="wd2" y="hd2"/>
                </a:cxn>
                <a:cxn ang="16200000">
                  <a:pos x="wd2" y="hd2"/>
                </a:cxn>
              </a:cxnLst>
              <a:rect l="0" t="0" r="r" b="b"/>
              <a:pathLst>
                <a:path w="19711" h="20821" extrusionOk="0">
                  <a:moveTo>
                    <a:pt x="12499" y="13303"/>
                  </a:moveTo>
                  <a:cubicBezTo>
                    <a:pt x="13474" y="15282"/>
                    <a:pt x="14406" y="17194"/>
                    <a:pt x="14461" y="19063"/>
                  </a:cubicBezTo>
                  <a:cubicBezTo>
                    <a:pt x="14479" y="19633"/>
                    <a:pt x="14582" y="20311"/>
                    <a:pt x="14210" y="20821"/>
                  </a:cubicBezTo>
                  <a:cubicBezTo>
                    <a:pt x="10525" y="17927"/>
                    <a:pt x="9838" y="14212"/>
                    <a:pt x="8115" y="11051"/>
                  </a:cubicBezTo>
                  <a:cubicBezTo>
                    <a:pt x="6053" y="10122"/>
                    <a:pt x="4570" y="7480"/>
                    <a:pt x="6196" y="6231"/>
                  </a:cubicBezTo>
                  <a:cubicBezTo>
                    <a:pt x="8553" y="4419"/>
                    <a:pt x="10035" y="7345"/>
                    <a:pt x="10598" y="8773"/>
                  </a:cubicBezTo>
                  <a:cubicBezTo>
                    <a:pt x="10906" y="9555"/>
                    <a:pt x="10989" y="10416"/>
                    <a:pt x="11671" y="11094"/>
                  </a:cubicBezTo>
                  <a:cubicBezTo>
                    <a:pt x="13112" y="12518"/>
                    <a:pt x="15601" y="11340"/>
                    <a:pt x="16169" y="9915"/>
                  </a:cubicBezTo>
                  <a:cubicBezTo>
                    <a:pt x="16983" y="7871"/>
                    <a:pt x="15656" y="5461"/>
                    <a:pt x="13976" y="3794"/>
                  </a:cubicBezTo>
                  <a:cubicBezTo>
                    <a:pt x="11415" y="1258"/>
                    <a:pt x="6416" y="1969"/>
                    <a:pt x="3932" y="4842"/>
                  </a:cubicBezTo>
                  <a:cubicBezTo>
                    <a:pt x="2652" y="6323"/>
                    <a:pt x="2147" y="8434"/>
                    <a:pt x="3515" y="10418"/>
                  </a:cubicBezTo>
                  <a:cubicBezTo>
                    <a:pt x="4236" y="11464"/>
                    <a:pt x="5170" y="12108"/>
                    <a:pt x="6136" y="12400"/>
                  </a:cubicBezTo>
                  <a:cubicBezTo>
                    <a:pt x="6282" y="12445"/>
                    <a:pt x="6666" y="12458"/>
                    <a:pt x="6895" y="12661"/>
                  </a:cubicBezTo>
                  <a:cubicBezTo>
                    <a:pt x="7361" y="13074"/>
                    <a:pt x="7439" y="13745"/>
                    <a:pt x="7417" y="14249"/>
                  </a:cubicBezTo>
                  <a:cubicBezTo>
                    <a:pt x="5334" y="14777"/>
                    <a:pt x="3377" y="14023"/>
                    <a:pt x="1894" y="12542"/>
                  </a:cubicBezTo>
                  <a:cubicBezTo>
                    <a:pt x="-1478" y="9170"/>
                    <a:pt x="-94" y="4513"/>
                    <a:pt x="4049" y="1953"/>
                  </a:cubicBezTo>
                  <a:cubicBezTo>
                    <a:pt x="8469" y="-779"/>
                    <a:pt x="13971" y="-622"/>
                    <a:pt x="16956" y="2276"/>
                  </a:cubicBezTo>
                  <a:cubicBezTo>
                    <a:pt x="19176" y="4430"/>
                    <a:pt x="20122" y="7281"/>
                    <a:pt x="19546" y="9389"/>
                  </a:cubicBezTo>
                  <a:cubicBezTo>
                    <a:pt x="19112" y="10973"/>
                    <a:pt x="17273" y="13272"/>
                    <a:pt x="14367" y="13517"/>
                  </a:cubicBezTo>
                  <a:cubicBezTo>
                    <a:pt x="13720" y="13571"/>
                    <a:pt x="13303" y="13441"/>
                    <a:pt x="12499" y="1330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74" name="Shape 34242">
              <a:extLst>
                <a:ext uri="{FF2B5EF4-FFF2-40B4-BE49-F238E27FC236}">
                  <a16:creationId xmlns:a16="http://schemas.microsoft.com/office/drawing/2014/main" id="{F6CE3850-93A7-3A4A-85AE-BBEDCA49B0C1}"/>
                </a:ext>
              </a:extLst>
            </p:cNvPr>
            <p:cNvSpPr/>
            <p:nvPr/>
          </p:nvSpPr>
          <p:spPr>
            <a:xfrm>
              <a:off x="14349166" y="3565132"/>
              <a:ext cx="272152" cy="351174"/>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75" name="Shape 34243">
              <a:extLst>
                <a:ext uri="{FF2B5EF4-FFF2-40B4-BE49-F238E27FC236}">
                  <a16:creationId xmlns:a16="http://schemas.microsoft.com/office/drawing/2014/main" id="{277BC5CC-DBA1-4C4F-824D-E0A0F287A491}"/>
                </a:ext>
              </a:extLst>
            </p:cNvPr>
            <p:cNvSpPr/>
            <p:nvPr/>
          </p:nvSpPr>
          <p:spPr>
            <a:xfrm>
              <a:off x="10163109" y="5879849"/>
              <a:ext cx="373972" cy="350548"/>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76" name="Shape 34244">
              <a:extLst>
                <a:ext uri="{FF2B5EF4-FFF2-40B4-BE49-F238E27FC236}">
                  <a16:creationId xmlns:a16="http://schemas.microsoft.com/office/drawing/2014/main" id="{4C1951BA-4318-0C48-BB80-AEA42454E455}"/>
                </a:ext>
              </a:extLst>
            </p:cNvPr>
            <p:cNvSpPr/>
            <p:nvPr/>
          </p:nvSpPr>
          <p:spPr>
            <a:xfrm>
              <a:off x="14467934" y="6264695"/>
              <a:ext cx="347528" cy="3257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77" name="Shape 34245">
              <a:extLst>
                <a:ext uri="{FF2B5EF4-FFF2-40B4-BE49-F238E27FC236}">
                  <a16:creationId xmlns:a16="http://schemas.microsoft.com/office/drawing/2014/main" id="{05876D45-D958-A14F-A7AB-E0E6B1CBE1FB}"/>
                </a:ext>
              </a:extLst>
            </p:cNvPr>
            <p:cNvSpPr/>
            <p:nvPr/>
          </p:nvSpPr>
          <p:spPr>
            <a:xfrm>
              <a:off x="12353445" y="9604415"/>
              <a:ext cx="266020"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78" name="Shape 34246">
              <a:extLst>
                <a:ext uri="{FF2B5EF4-FFF2-40B4-BE49-F238E27FC236}">
                  <a16:creationId xmlns:a16="http://schemas.microsoft.com/office/drawing/2014/main" id="{365BD466-8EEB-A94E-BA52-7ACA1AEB044F}"/>
                </a:ext>
              </a:extLst>
            </p:cNvPr>
            <p:cNvSpPr/>
            <p:nvPr/>
          </p:nvSpPr>
          <p:spPr>
            <a:xfrm>
              <a:off x="11817349" y="7826120"/>
              <a:ext cx="266022"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79" name="Shape 34247">
              <a:extLst>
                <a:ext uri="{FF2B5EF4-FFF2-40B4-BE49-F238E27FC236}">
                  <a16:creationId xmlns:a16="http://schemas.microsoft.com/office/drawing/2014/main" id="{5263F614-1D1E-334F-9E32-4B10A5C5D683}"/>
                </a:ext>
              </a:extLst>
            </p:cNvPr>
            <p:cNvSpPr/>
            <p:nvPr/>
          </p:nvSpPr>
          <p:spPr>
            <a:xfrm>
              <a:off x="10728159" y="11858687"/>
              <a:ext cx="359648" cy="359648"/>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53592" tIns="53592" rIns="53592" bIns="53592" numCol="1" anchor="ctr">
              <a:noAutofit/>
            </a:bodyPr>
            <a:lstStyle/>
            <a:p>
              <a:endParaRPr sz="5065" dirty="0">
                <a:latin typeface="Lato Light" panose="020F0502020204030203" pitchFamily="34" charset="0"/>
              </a:endParaRPr>
            </a:p>
          </p:txBody>
        </p:sp>
        <p:sp>
          <p:nvSpPr>
            <p:cNvPr id="80" name="Shape 34248">
              <a:extLst>
                <a:ext uri="{FF2B5EF4-FFF2-40B4-BE49-F238E27FC236}">
                  <a16:creationId xmlns:a16="http://schemas.microsoft.com/office/drawing/2014/main" id="{1F37ED50-B218-C54F-A826-60462E965D35}"/>
                </a:ext>
              </a:extLst>
            </p:cNvPr>
            <p:cNvSpPr/>
            <p:nvPr/>
          </p:nvSpPr>
          <p:spPr>
            <a:xfrm>
              <a:off x="11187068" y="11262359"/>
              <a:ext cx="266020"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81" name="Shape 34249">
              <a:extLst>
                <a:ext uri="{FF2B5EF4-FFF2-40B4-BE49-F238E27FC236}">
                  <a16:creationId xmlns:a16="http://schemas.microsoft.com/office/drawing/2014/main" id="{C896A07E-B01A-D64E-8E9E-4B3302A74AA6}"/>
                </a:ext>
              </a:extLst>
            </p:cNvPr>
            <p:cNvSpPr/>
            <p:nvPr/>
          </p:nvSpPr>
          <p:spPr>
            <a:xfrm>
              <a:off x="11097651" y="11556529"/>
              <a:ext cx="363722" cy="489364"/>
            </a:xfrm>
            <a:custGeom>
              <a:avLst/>
              <a:gdLst/>
              <a:ahLst/>
              <a:cxnLst>
                <a:cxn ang="0">
                  <a:pos x="wd2" y="hd2"/>
                </a:cxn>
                <a:cxn ang="5400000">
                  <a:pos x="wd2" y="hd2"/>
                </a:cxn>
                <a:cxn ang="10800000">
                  <a:pos x="wd2" y="hd2"/>
                </a:cxn>
                <a:cxn ang="16200000">
                  <a:pos x="wd2" y="hd2"/>
                </a:cxn>
              </a:cxnLst>
              <a:rect l="0" t="0" r="r" b="b"/>
              <a:pathLst>
                <a:path w="21600" h="21600" extrusionOk="0">
                  <a:moveTo>
                    <a:pt x="0" y="1289"/>
                  </a:moveTo>
                  <a:lnTo>
                    <a:pt x="7526" y="11318"/>
                  </a:lnTo>
                  <a:lnTo>
                    <a:pt x="10639" y="10027"/>
                  </a:lnTo>
                  <a:lnTo>
                    <a:pt x="6735" y="4831"/>
                  </a:lnTo>
                  <a:cubicBezTo>
                    <a:pt x="7186" y="4822"/>
                    <a:pt x="7638" y="4734"/>
                    <a:pt x="8042" y="4542"/>
                  </a:cubicBezTo>
                  <a:cubicBezTo>
                    <a:pt x="8843" y="4160"/>
                    <a:pt x="9286" y="3488"/>
                    <a:pt x="9338" y="2779"/>
                  </a:cubicBezTo>
                  <a:cubicBezTo>
                    <a:pt x="9343" y="2717"/>
                    <a:pt x="9344" y="2654"/>
                    <a:pt x="9343" y="2591"/>
                  </a:cubicBezTo>
                  <a:cubicBezTo>
                    <a:pt x="10859" y="2532"/>
                    <a:pt x="12290" y="2713"/>
                    <a:pt x="13557" y="3159"/>
                  </a:cubicBezTo>
                  <a:cubicBezTo>
                    <a:pt x="15647" y="3894"/>
                    <a:pt x="17171" y="5277"/>
                    <a:pt x="17964" y="7158"/>
                  </a:cubicBezTo>
                  <a:cubicBezTo>
                    <a:pt x="19200" y="10089"/>
                    <a:pt x="17878" y="13269"/>
                    <a:pt x="14770" y="15143"/>
                  </a:cubicBezTo>
                  <a:lnTo>
                    <a:pt x="13545" y="13629"/>
                  </a:lnTo>
                  <a:lnTo>
                    <a:pt x="15711" y="12662"/>
                  </a:lnTo>
                  <a:lnTo>
                    <a:pt x="15100" y="11906"/>
                  </a:lnTo>
                  <a:lnTo>
                    <a:pt x="7202" y="15433"/>
                  </a:lnTo>
                  <a:lnTo>
                    <a:pt x="7813" y="16189"/>
                  </a:lnTo>
                  <a:lnTo>
                    <a:pt x="9983" y="15220"/>
                  </a:lnTo>
                  <a:lnTo>
                    <a:pt x="11972" y="17680"/>
                  </a:lnTo>
                  <a:lnTo>
                    <a:pt x="7432" y="19708"/>
                  </a:lnTo>
                  <a:lnTo>
                    <a:pt x="8961" y="21600"/>
                  </a:lnTo>
                  <a:lnTo>
                    <a:pt x="21600" y="15956"/>
                  </a:lnTo>
                  <a:lnTo>
                    <a:pt x="20070" y="14064"/>
                  </a:lnTo>
                  <a:lnTo>
                    <a:pt x="16905" y="15477"/>
                  </a:lnTo>
                  <a:cubicBezTo>
                    <a:pt x="19819" y="13226"/>
                    <a:pt x="20973" y="9873"/>
                    <a:pt x="19662" y="6762"/>
                  </a:cubicBezTo>
                  <a:cubicBezTo>
                    <a:pt x="18716" y="4520"/>
                    <a:pt x="16868" y="2861"/>
                    <a:pt x="14317" y="1964"/>
                  </a:cubicBezTo>
                  <a:cubicBezTo>
                    <a:pt x="12625" y="1368"/>
                    <a:pt x="10722" y="1151"/>
                    <a:pt x="8713" y="1295"/>
                  </a:cubicBezTo>
                  <a:cubicBezTo>
                    <a:pt x="7813" y="536"/>
                    <a:pt x="6285" y="336"/>
                    <a:pt x="5078" y="875"/>
                  </a:cubicBezTo>
                  <a:cubicBezTo>
                    <a:pt x="4725" y="1032"/>
                    <a:pt x="4440" y="1236"/>
                    <a:pt x="4217" y="1471"/>
                  </a:cubicBezTo>
                  <a:lnTo>
                    <a:pt x="3109" y="0"/>
                  </a:lnTo>
                  <a:lnTo>
                    <a:pt x="0" y="1289"/>
                  </a:lnTo>
                  <a:close/>
                  <a:moveTo>
                    <a:pt x="5994" y="2008"/>
                  </a:moveTo>
                  <a:cubicBezTo>
                    <a:pt x="6453" y="1798"/>
                    <a:pt x="7049" y="1856"/>
                    <a:pt x="7404" y="2156"/>
                  </a:cubicBezTo>
                  <a:cubicBezTo>
                    <a:pt x="7771" y="2467"/>
                    <a:pt x="7762" y="2932"/>
                    <a:pt x="7387" y="3235"/>
                  </a:cubicBezTo>
                  <a:cubicBezTo>
                    <a:pt x="7313" y="3300"/>
                    <a:pt x="7226" y="3359"/>
                    <a:pt x="7123" y="3405"/>
                  </a:cubicBezTo>
                  <a:cubicBezTo>
                    <a:pt x="6605" y="3637"/>
                    <a:pt x="5928" y="3511"/>
                    <a:pt x="5619" y="3126"/>
                  </a:cubicBezTo>
                  <a:cubicBezTo>
                    <a:pt x="5309" y="2742"/>
                    <a:pt x="5480" y="2244"/>
                    <a:pt x="5994" y="20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82" name="Shape 34250">
              <a:extLst>
                <a:ext uri="{FF2B5EF4-FFF2-40B4-BE49-F238E27FC236}">
                  <a16:creationId xmlns:a16="http://schemas.microsoft.com/office/drawing/2014/main" id="{37B32F2F-1ED6-634B-A81D-57BF1FBF2D13}"/>
                </a:ext>
              </a:extLst>
            </p:cNvPr>
            <p:cNvSpPr/>
            <p:nvPr/>
          </p:nvSpPr>
          <p:spPr>
            <a:xfrm>
              <a:off x="11475026" y="12061751"/>
              <a:ext cx="218222" cy="281582"/>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83" name="Shape 34251">
              <a:extLst>
                <a:ext uri="{FF2B5EF4-FFF2-40B4-BE49-F238E27FC236}">
                  <a16:creationId xmlns:a16="http://schemas.microsoft.com/office/drawing/2014/main" id="{F3398260-4D59-1640-BBDA-48C4A619B62F}"/>
                </a:ext>
              </a:extLst>
            </p:cNvPr>
            <p:cNvSpPr/>
            <p:nvPr/>
          </p:nvSpPr>
          <p:spPr>
            <a:xfrm>
              <a:off x="11001064" y="12147982"/>
              <a:ext cx="241994" cy="2796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84" name="Shape 34252">
              <a:extLst>
                <a:ext uri="{FF2B5EF4-FFF2-40B4-BE49-F238E27FC236}">
                  <a16:creationId xmlns:a16="http://schemas.microsoft.com/office/drawing/2014/main" id="{FFF3CFC1-671D-FB43-8DE8-640DBB6A700A}"/>
                </a:ext>
              </a:extLst>
            </p:cNvPr>
            <p:cNvSpPr/>
            <p:nvPr/>
          </p:nvSpPr>
          <p:spPr>
            <a:xfrm>
              <a:off x="11499317" y="12714275"/>
              <a:ext cx="353634" cy="243124"/>
            </a:xfrm>
            <a:custGeom>
              <a:avLst/>
              <a:gdLst/>
              <a:ahLst/>
              <a:cxnLst>
                <a:cxn ang="0">
                  <a:pos x="wd2" y="hd2"/>
                </a:cxn>
                <a:cxn ang="5400000">
                  <a:pos x="wd2" y="hd2"/>
                </a:cxn>
                <a:cxn ang="10800000">
                  <a:pos x="wd2" y="hd2"/>
                </a:cxn>
                <a:cxn ang="16200000">
                  <a:pos x="wd2" y="hd2"/>
                </a:cxn>
              </a:cxnLst>
              <a:rect l="0" t="0" r="r" b="b"/>
              <a:pathLst>
                <a:path w="21600" h="21600" extrusionOk="0">
                  <a:moveTo>
                    <a:pt x="14829" y="10800"/>
                  </a:moveTo>
                  <a:lnTo>
                    <a:pt x="14850" y="5891"/>
                  </a:lnTo>
                  <a:lnTo>
                    <a:pt x="18865" y="5891"/>
                  </a:lnTo>
                  <a:lnTo>
                    <a:pt x="20250" y="10800"/>
                  </a:lnTo>
                  <a:lnTo>
                    <a:pt x="14829" y="10800"/>
                  </a:lnTo>
                  <a:close/>
                  <a:moveTo>
                    <a:pt x="20250" y="5564"/>
                  </a:moveTo>
                  <a:cubicBezTo>
                    <a:pt x="19879" y="3856"/>
                    <a:pt x="18900" y="3919"/>
                    <a:pt x="18900" y="3919"/>
                  </a:cubicBezTo>
                  <a:lnTo>
                    <a:pt x="13495" y="3919"/>
                  </a:lnTo>
                  <a:lnTo>
                    <a:pt x="13495" y="18655"/>
                  </a:lnTo>
                  <a:lnTo>
                    <a:pt x="15525" y="18655"/>
                  </a:lnTo>
                  <a:cubicBezTo>
                    <a:pt x="15527" y="14736"/>
                    <a:pt x="16734" y="14727"/>
                    <a:pt x="18225" y="14728"/>
                  </a:cubicBezTo>
                  <a:cubicBezTo>
                    <a:pt x="19716" y="14728"/>
                    <a:pt x="20918" y="14757"/>
                    <a:pt x="20924" y="18655"/>
                  </a:cubicBezTo>
                  <a:lnTo>
                    <a:pt x="21600" y="18655"/>
                  </a:lnTo>
                  <a:lnTo>
                    <a:pt x="21600" y="10817"/>
                  </a:lnTo>
                  <a:cubicBezTo>
                    <a:pt x="21600" y="10817"/>
                    <a:pt x="20621" y="7272"/>
                    <a:pt x="20250" y="5564"/>
                  </a:cubicBezTo>
                  <a:close/>
                  <a:moveTo>
                    <a:pt x="12690" y="1964"/>
                  </a:moveTo>
                  <a:lnTo>
                    <a:pt x="12690" y="18655"/>
                  </a:lnTo>
                  <a:lnTo>
                    <a:pt x="6750" y="18655"/>
                  </a:lnTo>
                  <a:cubicBezTo>
                    <a:pt x="6750" y="14728"/>
                    <a:pt x="5541" y="14728"/>
                    <a:pt x="4050" y="14728"/>
                  </a:cubicBezTo>
                  <a:cubicBezTo>
                    <a:pt x="2559" y="14728"/>
                    <a:pt x="1350" y="14728"/>
                    <a:pt x="1350" y="18655"/>
                  </a:cubicBezTo>
                  <a:lnTo>
                    <a:pt x="0" y="18655"/>
                  </a:lnTo>
                  <a:lnTo>
                    <a:pt x="0" y="1964"/>
                  </a:lnTo>
                  <a:cubicBezTo>
                    <a:pt x="0" y="1421"/>
                    <a:pt x="151" y="931"/>
                    <a:pt x="395" y="575"/>
                  </a:cubicBezTo>
                  <a:cubicBezTo>
                    <a:pt x="640" y="220"/>
                    <a:pt x="977" y="0"/>
                    <a:pt x="1350" y="0"/>
                  </a:cubicBezTo>
                  <a:lnTo>
                    <a:pt x="11340" y="0"/>
                  </a:lnTo>
                  <a:cubicBezTo>
                    <a:pt x="11713" y="0"/>
                    <a:pt x="12050" y="220"/>
                    <a:pt x="12295" y="575"/>
                  </a:cubicBezTo>
                  <a:cubicBezTo>
                    <a:pt x="12539" y="931"/>
                    <a:pt x="12690" y="1421"/>
                    <a:pt x="12690" y="1964"/>
                  </a:cubicBezTo>
                  <a:close/>
                  <a:moveTo>
                    <a:pt x="4050" y="19636"/>
                  </a:moveTo>
                  <a:cubicBezTo>
                    <a:pt x="3677" y="19636"/>
                    <a:pt x="3375" y="19197"/>
                    <a:pt x="3375" y="18655"/>
                  </a:cubicBezTo>
                  <a:cubicBezTo>
                    <a:pt x="3375" y="18112"/>
                    <a:pt x="3677" y="17673"/>
                    <a:pt x="4050" y="17673"/>
                  </a:cubicBezTo>
                  <a:cubicBezTo>
                    <a:pt x="4423" y="17673"/>
                    <a:pt x="4725" y="18112"/>
                    <a:pt x="4725" y="18655"/>
                  </a:cubicBezTo>
                  <a:cubicBezTo>
                    <a:pt x="4725" y="19197"/>
                    <a:pt x="4423" y="19636"/>
                    <a:pt x="4050" y="19636"/>
                  </a:cubicBezTo>
                  <a:close/>
                  <a:moveTo>
                    <a:pt x="4050" y="15709"/>
                  </a:moveTo>
                  <a:cubicBezTo>
                    <a:pt x="2932" y="15709"/>
                    <a:pt x="2025" y="17028"/>
                    <a:pt x="2025" y="18655"/>
                  </a:cubicBezTo>
                  <a:cubicBezTo>
                    <a:pt x="2025" y="20281"/>
                    <a:pt x="2932" y="21600"/>
                    <a:pt x="4050" y="21600"/>
                  </a:cubicBezTo>
                  <a:cubicBezTo>
                    <a:pt x="5168" y="21600"/>
                    <a:pt x="6075" y="20281"/>
                    <a:pt x="6075" y="18655"/>
                  </a:cubicBezTo>
                  <a:cubicBezTo>
                    <a:pt x="6075" y="17028"/>
                    <a:pt x="5168" y="15709"/>
                    <a:pt x="4050" y="15709"/>
                  </a:cubicBezTo>
                  <a:close/>
                  <a:moveTo>
                    <a:pt x="18225" y="19636"/>
                  </a:moveTo>
                  <a:cubicBezTo>
                    <a:pt x="17852" y="19636"/>
                    <a:pt x="17550" y="19197"/>
                    <a:pt x="17550" y="18655"/>
                  </a:cubicBezTo>
                  <a:cubicBezTo>
                    <a:pt x="17550" y="18112"/>
                    <a:pt x="17852" y="17673"/>
                    <a:pt x="18225" y="17673"/>
                  </a:cubicBezTo>
                  <a:cubicBezTo>
                    <a:pt x="18598" y="17673"/>
                    <a:pt x="18900" y="18112"/>
                    <a:pt x="18900" y="18655"/>
                  </a:cubicBezTo>
                  <a:cubicBezTo>
                    <a:pt x="18900" y="19197"/>
                    <a:pt x="18598" y="19636"/>
                    <a:pt x="18225" y="19636"/>
                  </a:cubicBezTo>
                  <a:close/>
                  <a:moveTo>
                    <a:pt x="18225" y="15709"/>
                  </a:moveTo>
                  <a:cubicBezTo>
                    <a:pt x="17107" y="15709"/>
                    <a:pt x="16200" y="17028"/>
                    <a:pt x="16200" y="18655"/>
                  </a:cubicBezTo>
                  <a:cubicBezTo>
                    <a:pt x="16200" y="20281"/>
                    <a:pt x="17107" y="21600"/>
                    <a:pt x="18225" y="21600"/>
                  </a:cubicBezTo>
                  <a:cubicBezTo>
                    <a:pt x="19343" y="21600"/>
                    <a:pt x="20250" y="20281"/>
                    <a:pt x="20250" y="18655"/>
                  </a:cubicBezTo>
                  <a:cubicBezTo>
                    <a:pt x="20250" y="17028"/>
                    <a:pt x="19343" y="15709"/>
                    <a:pt x="18225" y="15709"/>
                  </a:cubicBezTo>
                  <a:close/>
                </a:path>
              </a:pathLst>
            </a:custGeom>
            <a:solidFill>
              <a:schemeClr val="bg1">
                <a:lumMod val="85000"/>
              </a:schemeClr>
            </a:solidFill>
            <a:ln w="12700" cap="flat">
              <a:noFill/>
              <a:miter lim="400000"/>
            </a:ln>
            <a:effectLst/>
          </p:spPr>
          <p:txBody>
            <a:bodyPr wrap="square" lIns="53592" tIns="53592" rIns="53592" bIns="53592" numCol="1" anchor="b">
              <a:noAutofit/>
            </a:bodyPr>
            <a:lstStyle/>
            <a:p>
              <a:endParaRPr sz="5065" dirty="0">
                <a:latin typeface="Lato Light" panose="020F0502020204030203" pitchFamily="34" charset="0"/>
              </a:endParaRPr>
            </a:p>
          </p:txBody>
        </p:sp>
        <p:sp>
          <p:nvSpPr>
            <p:cNvPr id="85" name="Shape 34253">
              <a:extLst>
                <a:ext uri="{FF2B5EF4-FFF2-40B4-BE49-F238E27FC236}">
                  <a16:creationId xmlns:a16="http://schemas.microsoft.com/office/drawing/2014/main" id="{6133A4E5-C73F-6242-B76A-5B5ECACF1D8B}"/>
                </a:ext>
              </a:extLst>
            </p:cNvPr>
            <p:cNvSpPr/>
            <p:nvPr/>
          </p:nvSpPr>
          <p:spPr>
            <a:xfrm rot="1920000">
              <a:off x="12259440" y="12552699"/>
              <a:ext cx="459460" cy="127604"/>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86" name="Shape 34254">
              <a:extLst>
                <a:ext uri="{FF2B5EF4-FFF2-40B4-BE49-F238E27FC236}">
                  <a16:creationId xmlns:a16="http://schemas.microsoft.com/office/drawing/2014/main" id="{BCAEE65C-A5FD-1546-BF20-F8B9E8DDBA02}"/>
                </a:ext>
              </a:extLst>
            </p:cNvPr>
            <p:cNvSpPr/>
            <p:nvPr/>
          </p:nvSpPr>
          <p:spPr>
            <a:xfrm>
              <a:off x="10340903" y="5125500"/>
              <a:ext cx="609452" cy="544702"/>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rgbClr val="9ACFC8"/>
            </a:solidFill>
            <a:ln w="12700" cap="flat">
              <a:noFill/>
              <a:miter lim="400000"/>
            </a:ln>
            <a:effectLst/>
          </p:spPr>
          <p:txBody>
            <a:bodyPr wrap="square" lIns="0" tIns="0" rIns="0" bIns="0" numCol="1" anchor="ctr">
              <a:noAutofit/>
            </a:bodyPr>
            <a:lstStyle/>
            <a:p>
              <a:endParaRPr sz="5065" dirty="0">
                <a:solidFill>
                  <a:schemeClr val="tx1">
                    <a:lumMod val="20000"/>
                    <a:lumOff val="80000"/>
                  </a:schemeClr>
                </a:solidFill>
                <a:latin typeface="Lato Light" panose="020F0502020204030203" pitchFamily="34" charset="0"/>
              </a:endParaRPr>
            </a:p>
          </p:txBody>
        </p:sp>
        <p:sp>
          <p:nvSpPr>
            <p:cNvPr id="87" name="Shape 34255">
              <a:extLst>
                <a:ext uri="{FF2B5EF4-FFF2-40B4-BE49-F238E27FC236}">
                  <a16:creationId xmlns:a16="http://schemas.microsoft.com/office/drawing/2014/main" id="{239D7CEC-D99B-D147-B7AA-F7779172D3D3}"/>
                </a:ext>
              </a:extLst>
            </p:cNvPr>
            <p:cNvSpPr/>
            <p:nvPr/>
          </p:nvSpPr>
          <p:spPr>
            <a:xfrm>
              <a:off x="9854702" y="4803941"/>
              <a:ext cx="502982" cy="459644"/>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88" name="Shape 34256">
              <a:extLst>
                <a:ext uri="{FF2B5EF4-FFF2-40B4-BE49-F238E27FC236}">
                  <a16:creationId xmlns:a16="http://schemas.microsoft.com/office/drawing/2014/main" id="{DF29DF9D-0E0C-C847-AEBC-39D02DAF968B}"/>
                </a:ext>
              </a:extLst>
            </p:cNvPr>
            <p:cNvSpPr/>
            <p:nvPr/>
          </p:nvSpPr>
          <p:spPr>
            <a:xfrm>
              <a:off x="10882778" y="5040627"/>
              <a:ext cx="347554" cy="302336"/>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89" name="Shape 34257">
              <a:extLst>
                <a:ext uri="{FF2B5EF4-FFF2-40B4-BE49-F238E27FC236}">
                  <a16:creationId xmlns:a16="http://schemas.microsoft.com/office/drawing/2014/main" id="{2D654956-3506-5143-8341-4091A6DC5F74}"/>
                </a:ext>
              </a:extLst>
            </p:cNvPr>
            <p:cNvSpPr/>
            <p:nvPr/>
          </p:nvSpPr>
          <p:spPr>
            <a:xfrm>
              <a:off x="10466323" y="4715507"/>
              <a:ext cx="342888" cy="302336"/>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90" name="Shape 34258">
              <a:extLst>
                <a:ext uri="{FF2B5EF4-FFF2-40B4-BE49-F238E27FC236}">
                  <a16:creationId xmlns:a16="http://schemas.microsoft.com/office/drawing/2014/main" id="{993A4D6B-AC1B-E740-BC6C-C4A7A4F23E5F}"/>
                </a:ext>
              </a:extLst>
            </p:cNvPr>
            <p:cNvSpPr/>
            <p:nvPr/>
          </p:nvSpPr>
          <p:spPr>
            <a:xfrm>
              <a:off x="13456598" y="7929263"/>
              <a:ext cx="368866" cy="329674"/>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91" name="Shape 34259">
              <a:extLst>
                <a:ext uri="{FF2B5EF4-FFF2-40B4-BE49-F238E27FC236}">
                  <a16:creationId xmlns:a16="http://schemas.microsoft.com/office/drawing/2014/main" id="{0E3E719A-AB31-EA4C-AE45-F914C2662689}"/>
                </a:ext>
              </a:extLst>
            </p:cNvPr>
            <p:cNvSpPr/>
            <p:nvPr/>
          </p:nvSpPr>
          <p:spPr>
            <a:xfrm>
              <a:off x="12160172" y="6699066"/>
              <a:ext cx="392924" cy="351174"/>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92" name="Shape 34260">
              <a:extLst>
                <a:ext uri="{FF2B5EF4-FFF2-40B4-BE49-F238E27FC236}">
                  <a16:creationId xmlns:a16="http://schemas.microsoft.com/office/drawing/2014/main" id="{476BAB01-3509-144D-815D-B8C0C42F6C46}"/>
                </a:ext>
              </a:extLst>
            </p:cNvPr>
            <p:cNvSpPr/>
            <p:nvPr/>
          </p:nvSpPr>
          <p:spPr>
            <a:xfrm>
              <a:off x="10867845" y="10886425"/>
              <a:ext cx="279004" cy="249360"/>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93" name="Shape 34261">
              <a:extLst>
                <a:ext uri="{FF2B5EF4-FFF2-40B4-BE49-F238E27FC236}">
                  <a16:creationId xmlns:a16="http://schemas.microsoft.com/office/drawing/2014/main" id="{7D10E1D3-9C9D-BA45-9D7A-61EF2547E8BD}"/>
                </a:ext>
              </a:extLst>
            </p:cNvPr>
            <p:cNvSpPr/>
            <p:nvPr/>
          </p:nvSpPr>
          <p:spPr>
            <a:xfrm>
              <a:off x="12725585" y="12289966"/>
              <a:ext cx="373054" cy="303140"/>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94" name="Shape 34262">
              <a:extLst>
                <a:ext uri="{FF2B5EF4-FFF2-40B4-BE49-F238E27FC236}">
                  <a16:creationId xmlns:a16="http://schemas.microsoft.com/office/drawing/2014/main" id="{AB2E67B5-1719-BA41-814B-9DB20F4C766B}"/>
                </a:ext>
              </a:extLst>
            </p:cNvPr>
            <p:cNvSpPr/>
            <p:nvPr/>
          </p:nvSpPr>
          <p:spPr>
            <a:xfrm>
              <a:off x="13639147" y="5652275"/>
              <a:ext cx="728794" cy="541076"/>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rgbClr val="9ACFC8"/>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95" name="Shape 34263">
              <a:extLst>
                <a:ext uri="{FF2B5EF4-FFF2-40B4-BE49-F238E27FC236}">
                  <a16:creationId xmlns:a16="http://schemas.microsoft.com/office/drawing/2014/main" id="{CCD3A175-B754-9241-8B3F-5589C457152C}"/>
                </a:ext>
              </a:extLst>
            </p:cNvPr>
            <p:cNvSpPr/>
            <p:nvPr/>
          </p:nvSpPr>
          <p:spPr>
            <a:xfrm>
              <a:off x="14075163" y="6302567"/>
              <a:ext cx="163854" cy="351178"/>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96" name="Shape 34264">
              <a:extLst>
                <a:ext uri="{FF2B5EF4-FFF2-40B4-BE49-F238E27FC236}">
                  <a16:creationId xmlns:a16="http://schemas.microsoft.com/office/drawing/2014/main" id="{D48FB290-BDB0-6441-B3A9-EBD60785BB10}"/>
                </a:ext>
              </a:extLst>
            </p:cNvPr>
            <p:cNvSpPr/>
            <p:nvPr/>
          </p:nvSpPr>
          <p:spPr>
            <a:xfrm>
              <a:off x="11378351" y="9431234"/>
              <a:ext cx="527920" cy="391942"/>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sp>
          <p:nvSpPr>
            <p:cNvPr id="97" name="Shape 34265">
              <a:extLst>
                <a:ext uri="{FF2B5EF4-FFF2-40B4-BE49-F238E27FC236}">
                  <a16:creationId xmlns:a16="http://schemas.microsoft.com/office/drawing/2014/main" id="{203D4A13-AFFB-704E-8D73-2CDD6B944860}"/>
                </a:ext>
              </a:extLst>
            </p:cNvPr>
            <p:cNvSpPr/>
            <p:nvPr/>
          </p:nvSpPr>
          <p:spPr>
            <a:xfrm>
              <a:off x="13182794" y="4769147"/>
              <a:ext cx="316260" cy="234800"/>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sz="5065" dirty="0">
                <a:latin typeface="Lato Light" panose="020F0502020204030203" pitchFamily="34" charset="0"/>
              </a:endParaRPr>
            </a:p>
          </p:txBody>
        </p:sp>
      </p:grpSp>
      <p:sp>
        <p:nvSpPr>
          <p:cNvPr id="115" name="Title 114">
            <a:extLst>
              <a:ext uri="{FF2B5EF4-FFF2-40B4-BE49-F238E27FC236}">
                <a16:creationId xmlns:a16="http://schemas.microsoft.com/office/drawing/2014/main" id="{22A3A85F-3325-8549-82F1-18D3AC41DFBA}"/>
              </a:ext>
            </a:extLst>
          </p:cNvPr>
          <p:cNvSpPr>
            <a:spLocks noGrp="1"/>
          </p:cNvSpPr>
          <p:nvPr>
            <p:ph type="ctrTitle"/>
          </p:nvPr>
        </p:nvSpPr>
        <p:spPr>
          <a:xfrm>
            <a:off x="5482573" y="2370697"/>
            <a:ext cx="6220323" cy="712893"/>
          </a:xfrm>
        </p:spPr>
        <p:txBody>
          <a:bodyPr>
            <a:normAutofit fontScale="90000"/>
          </a:bodyPr>
          <a:lstStyle/>
          <a:p>
            <a:r>
              <a:rPr lang="en-US" dirty="0">
                <a:solidFill>
                  <a:schemeClr val="tx1"/>
                </a:solidFill>
              </a:rPr>
              <a:t>Questions/Comments</a:t>
            </a:r>
          </a:p>
        </p:txBody>
      </p:sp>
      <p:sp>
        <p:nvSpPr>
          <p:cNvPr id="116" name="Subtitle 115">
            <a:extLst>
              <a:ext uri="{FF2B5EF4-FFF2-40B4-BE49-F238E27FC236}">
                <a16:creationId xmlns:a16="http://schemas.microsoft.com/office/drawing/2014/main" id="{60BD6043-9B54-0843-8ED4-FD3A031EC7C2}"/>
              </a:ext>
            </a:extLst>
          </p:cNvPr>
          <p:cNvSpPr>
            <a:spLocks noGrp="1"/>
          </p:cNvSpPr>
          <p:nvPr>
            <p:ph type="subTitle" idx="1"/>
          </p:nvPr>
        </p:nvSpPr>
        <p:spPr>
          <a:xfrm>
            <a:off x="5500860" y="3357206"/>
            <a:ext cx="6159120" cy="505732"/>
          </a:xfrm>
        </p:spPr>
        <p:txBody>
          <a:bodyPr>
            <a:noAutofit/>
          </a:bodyPr>
          <a:lstStyle/>
          <a:p>
            <a:r>
              <a:rPr lang="en-US" dirty="0">
                <a:solidFill>
                  <a:schemeClr val="tx1"/>
                </a:solidFill>
              </a:rPr>
              <a:t>Isaac Collazo</a:t>
            </a:r>
            <a:br>
              <a:rPr lang="en-US" dirty="0">
                <a:solidFill>
                  <a:schemeClr val="tx1"/>
                </a:solidFill>
              </a:rPr>
            </a:br>
            <a:r>
              <a:rPr lang="en-US" sz="1800" b="0" dirty="0">
                <a:solidFill>
                  <a:schemeClr val="tx1"/>
                </a:solidFill>
                <a:hlinkClick r:id="rId3"/>
              </a:rPr>
              <a:t>icollazo@str.com</a:t>
            </a:r>
            <a:endParaRPr lang="en-US" sz="1800" b="0" dirty="0">
              <a:solidFill>
                <a:schemeClr val="tx1"/>
              </a:solidFill>
            </a:endParaRPr>
          </a:p>
          <a:p>
            <a:r>
              <a:rPr lang="en-US" sz="1800" b="0" dirty="0">
                <a:solidFill>
                  <a:schemeClr val="tx1"/>
                </a:solidFill>
              </a:rPr>
              <a:t>770-335-3940</a:t>
            </a:r>
            <a:br>
              <a:rPr lang="en-US" sz="1800" b="0" dirty="0">
                <a:solidFill>
                  <a:schemeClr val="tx1"/>
                </a:solidFill>
              </a:rPr>
            </a:br>
            <a:r>
              <a:rPr lang="en-US" sz="1800" b="0" dirty="0">
                <a:solidFill>
                  <a:schemeClr val="tx1"/>
                </a:solidFill>
              </a:rPr>
              <a:t>www.linkedin.com/in/isaaccollazo</a:t>
            </a:r>
          </a:p>
        </p:txBody>
      </p:sp>
    </p:spTree>
    <p:extLst>
      <p:ext uri="{BB962C8B-B14F-4D97-AF65-F5344CB8AC3E}">
        <p14:creationId xmlns:p14="http://schemas.microsoft.com/office/powerpoint/2010/main" val="2226086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76000" y="429119"/>
            <a:ext cx="10161409" cy="446789"/>
          </a:xfrm>
        </p:spPr>
        <p:txBody>
          <a:bodyPr>
            <a:spAutoFit/>
          </a:bodyPr>
          <a:lstStyle/>
          <a:p>
            <a:r>
              <a:rPr lang="en-US" dirty="0">
                <a:solidFill>
                  <a:srgbClr val="3F3F3F"/>
                </a:solidFill>
                <a:latin typeface="Calibri" panose="020F0502020204030204" pitchFamily="34" charset="0"/>
                <a:cs typeface="Calibri" panose="020F0502020204030204" pitchFamily="34" charset="0"/>
              </a:rPr>
              <a:t>U.S. room demand near peak</a:t>
            </a:r>
            <a:endParaRPr lang="en-GB" dirty="0">
              <a:solidFill>
                <a:srgbClr val="3F3F3F"/>
              </a:solidFill>
            </a:endParaRPr>
          </a:p>
        </p:txBody>
      </p:sp>
      <p:sp>
        <p:nvSpPr>
          <p:cNvPr id="4" name="Text Placeholder 3"/>
          <p:cNvSpPr>
            <a:spLocks noGrp="1"/>
          </p:cNvSpPr>
          <p:nvPr>
            <p:ph type="body" sz="quarter" idx="13"/>
          </p:nvPr>
        </p:nvSpPr>
        <p:spPr>
          <a:xfrm>
            <a:off x="576000" y="879445"/>
            <a:ext cx="11243198" cy="303340"/>
          </a:xfrm>
        </p:spPr>
        <p:txBody>
          <a:bodyPr anchor="ctr"/>
          <a:lstStyle/>
          <a:p>
            <a:r>
              <a:rPr lang="en-GB" dirty="0"/>
              <a:t>U.S. average daily rooms sold (in millions)</a:t>
            </a:r>
          </a:p>
        </p:txBody>
      </p:sp>
      <p:graphicFrame>
        <p:nvGraphicFramePr>
          <p:cNvPr id="6" name="Chart 5">
            <a:extLst>
              <a:ext uri="{FF2B5EF4-FFF2-40B4-BE49-F238E27FC236}">
                <a16:creationId xmlns:a16="http://schemas.microsoft.com/office/drawing/2014/main" id="{95250B0D-D282-4140-84D8-43C546E5A400}"/>
              </a:ext>
            </a:extLst>
          </p:cNvPr>
          <p:cNvGraphicFramePr/>
          <p:nvPr>
            <p:extLst>
              <p:ext uri="{D42A27DB-BD31-4B8C-83A1-F6EECF244321}">
                <p14:modId xmlns:p14="http://schemas.microsoft.com/office/powerpoint/2010/main" val="919366873"/>
              </p:ext>
            </p:extLst>
          </p:nvPr>
        </p:nvGraphicFramePr>
        <p:xfrm>
          <a:off x="571499" y="1600200"/>
          <a:ext cx="11247699" cy="461009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059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
          <p:cNvGraphicFramePr>
            <a:graphicFrameLocks noGrp="1" noChangeAspect="1"/>
          </p:cNvGraphicFramePr>
          <p:nvPr>
            <p:ph idx="4294967295"/>
            <p:extLst>
              <p:ext uri="{D42A27DB-BD31-4B8C-83A1-F6EECF244321}">
                <p14:modId xmlns:p14="http://schemas.microsoft.com/office/powerpoint/2010/main" val="2096796468"/>
              </p:ext>
            </p:extLst>
          </p:nvPr>
        </p:nvGraphicFramePr>
        <p:xfrm>
          <a:off x="576000" y="1600200"/>
          <a:ext cx="11273099" cy="4614007"/>
        </p:xfrm>
        <a:graphic>
          <a:graphicData uri="http://schemas.openxmlformats.org/drawingml/2006/chart">
            <c:chart xmlns:c="http://schemas.openxmlformats.org/drawingml/2006/chart" xmlns:r="http://schemas.openxmlformats.org/officeDocument/2006/relationships" r:id="rId3"/>
          </a:graphicData>
        </a:graphic>
      </p:graphicFrame>
      <p:sp>
        <p:nvSpPr>
          <p:cNvPr id="92163" name="Rectangle 3"/>
          <p:cNvSpPr>
            <a:spLocks noGrp="1" noChangeArrowheads="1"/>
          </p:cNvSpPr>
          <p:nvPr>
            <p:ph type="title"/>
          </p:nvPr>
        </p:nvSpPr>
        <p:spPr bwMode="auto">
          <a:xfrm>
            <a:off x="576001" y="435936"/>
            <a:ext cx="10320599" cy="446789"/>
          </a:xfrm>
          <a:noFill/>
          <a:ln>
            <a:miter lim="800000"/>
            <a:headEnd/>
            <a:tailEnd/>
          </a:ln>
        </p:spPr>
        <p:txBody>
          <a:bodyPr vert="horz" wrap="square" lIns="91440" tIns="45720" rIns="91440" bIns="45720" numCol="1" rtlCol="0" anchor="ctr" anchorCtr="0" compatLnSpc="1">
            <a:prstTxWarp prst="textNoShape">
              <a:avLst/>
            </a:prstTxWarp>
            <a:spAutoFit/>
          </a:bodyPr>
          <a:lstStyle/>
          <a:p>
            <a:r>
              <a:rPr lang="en-US" dirty="0"/>
              <a:t>Largest demand gap remains in business travel days</a:t>
            </a:r>
          </a:p>
        </p:txBody>
      </p:sp>
      <p:sp>
        <p:nvSpPr>
          <p:cNvPr id="2" name="TextBox 1">
            <a:extLst>
              <a:ext uri="{FF2B5EF4-FFF2-40B4-BE49-F238E27FC236}">
                <a16:creationId xmlns:a16="http://schemas.microsoft.com/office/drawing/2014/main" id="{2904FF89-61A1-4DDD-8936-D3F0D870325B}"/>
              </a:ext>
            </a:extLst>
          </p:cNvPr>
          <p:cNvSpPr txBox="1"/>
          <p:nvPr/>
        </p:nvSpPr>
        <p:spPr>
          <a:xfrm>
            <a:off x="1706672" y="5898993"/>
            <a:ext cx="1727652" cy="307777"/>
          </a:xfrm>
          <a:prstGeom prst="rect">
            <a:avLst/>
          </a:prstGeom>
          <a:noFill/>
        </p:spPr>
        <p:txBody>
          <a:bodyPr wrap="none" rtlCol="0">
            <a:spAutoFit/>
          </a:bodyPr>
          <a:lstStyle/>
          <a:p>
            <a:pPr algn="ctr"/>
            <a:r>
              <a:rPr lang="en-US" sz="1400" b="1" dirty="0"/>
              <a:t>(Sunday &amp; Thursday)</a:t>
            </a:r>
          </a:p>
        </p:txBody>
      </p:sp>
      <p:sp>
        <p:nvSpPr>
          <p:cNvPr id="5" name="TextBox 4">
            <a:extLst>
              <a:ext uri="{FF2B5EF4-FFF2-40B4-BE49-F238E27FC236}">
                <a16:creationId xmlns:a16="http://schemas.microsoft.com/office/drawing/2014/main" id="{8C52EC66-8E7C-4681-A048-BEE116B6446C}"/>
              </a:ext>
            </a:extLst>
          </p:cNvPr>
          <p:cNvSpPr txBox="1"/>
          <p:nvPr/>
        </p:nvSpPr>
        <p:spPr>
          <a:xfrm>
            <a:off x="5283275" y="5895920"/>
            <a:ext cx="1914178" cy="307777"/>
          </a:xfrm>
          <a:prstGeom prst="rect">
            <a:avLst/>
          </a:prstGeom>
          <a:noFill/>
        </p:spPr>
        <p:txBody>
          <a:bodyPr wrap="none" rtlCol="0">
            <a:spAutoFit/>
          </a:bodyPr>
          <a:lstStyle/>
          <a:p>
            <a:pPr algn="ctr"/>
            <a:r>
              <a:rPr lang="en-US" sz="1400" b="1" dirty="0"/>
              <a:t>(Monday - Wednesday)</a:t>
            </a:r>
          </a:p>
        </p:txBody>
      </p:sp>
      <p:sp>
        <p:nvSpPr>
          <p:cNvPr id="6" name="TextBox 5">
            <a:extLst>
              <a:ext uri="{FF2B5EF4-FFF2-40B4-BE49-F238E27FC236}">
                <a16:creationId xmlns:a16="http://schemas.microsoft.com/office/drawing/2014/main" id="{42C6D335-113D-4CF3-8E3B-C20540F42813}"/>
              </a:ext>
            </a:extLst>
          </p:cNvPr>
          <p:cNvSpPr txBox="1"/>
          <p:nvPr/>
        </p:nvSpPr>
        <p:spPr>
          <a:xfrm>
            <a:off x="9142163" y="5898993"/>
            <a:ext cx="1618585" cy="307777"/>
          </a:xfrm>
          <a:prstGeom prst="rect">
            <a:avLst/>
          </a:prstGeom>
          <a:noFill/>
        </p:spPr>
        <p:txBody>
          <a:bodyPr wrap="none" rtlCol="0">
            <a:spAutoFit/>
          </a:bodyPr>
          <a:lstStyle/>
          <a:p>
            <a:pPr algn="ctr"/>
            <a:r>
              <a:rPr lang="en-US" sz="1400" b="1" dirty="0"/>
              <a:t>(Friday &amp; Saturday)</a:t>
            </a:r>
          </a:p>
        </p:txBody>
      </p:sp>
      <p:sp>
        <p:nvSpPr>
          <p:cNvPr id="8" name="Text Placeholder 3">
            <a:extLst>
              <a:ext uri="{FF2B5EF4-FFF2-40B4-BE49-F238E27FC236}">
                <a16:creationId xmlns:a16="http://schemas.microsoft.com/office/drawing/2014/main" id="{B4FFE55C-E9A4-4E53-9739-DEFBDE8C20BE}"/>
              </a:ext>
            </a:extLst>
          </p:cNvPr>
          <p:cNvSpPr txBox="1">
            <a:spLocks/>
          </p:cNvSpPr>
          <p:nvPr/>
        </p:nvSpPr>
        <p:spPr>
          <a:xfrm>
            <a:off x="576000" y="855021"/>
            <a:ext cx="9783851" cy="303340"/>
          </a:xfrm>
          <a:prstGeom prst="rect">
            <a:avLst/>
          </a:prstGeom>
        </p:spPr>
        <p:txBody>
          <a:bodyPr vert="horz" lIns="91440" tIns="45720" rIns="91440" bIns="45720" rtlCol="0" anchor="ctr">
            <a:noAutofit/>
          </a:bodyPr>
          <a:lstStyle>
            <a:lvl1pPr marL="0" indent="0" algn="l" defTabSz="1219170" rtl="0" eaLnBrk="1" latinLnBrk="0" hangingPunct="1">
              <a:lnSpc>
                <a:spcPts val="2667"/>
              </a:lnSpc>
              <a:spcBef>
                <a:spcPct val="20000"/>
              </a:spcBef>
              <a:buFont typeface="Arial" panose="020B0604020202020204" pitchFamily="34" charset="0"/>
              <a:buNone/>
              <a:defRPr sz="2000" kern="1200">
                <a:solidFill>
                  <a:schemeClr val="tx1"/>
                </a:solidFill>
                <a:latin typeface="+mn-lt"/>
                <a:ea typeface="+mn-ea"/>
                <a:cs typeface="Arial" pitchFamily="34" charset="0"/>
              </a:defRPr>
            </a:lvl1pPr>
            <a:lvl2pPr marL="990575" indent="-380990" algn="l" defTabSz="1219170" rtl="0" eaLnBrk="1" latinLnBrk="0" hangingPunct="1">
              <a:spcBef>
                <a:spcPct val="20000"/>
              </a:spcBef>
              <a:buFont typeface="Arial" panose="020B0604020202020204" pitchFamily="34" charset="0"/>
              <a:buChar char="–"/>
              <a:defRPr sz="1400" b="0" kern="1200">
                <a:solidFill>
                  <a:schemeClr val="tx1"/>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1400" b="0" kern="1200">
                <a:solidFill>
                  <a:schemeClr val="tx1"/>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133"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en-GB" dirty="0"/>
              <a:t>U.S. room demand indexed to 2019 (matched by day type)</a:t>
            </a:r>
          </a:p>
        </p:txBody>
      </p:sp>
    </p:spTree>
    <p:extLst>
      <p:ext uri="{BB962C8B-B14F-4D97-AF65-F5344CB8AC3E}">
        <p14:creationId xmlns:p14="http://schemas.microsoft.com/office/powerpoint/2010/main" val="164816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Placeholder 7">
            <a:extLst>
              <a:ext uri="{FF2B5EF4-FFF2-40B4-BE49-F238E27FC236}">
                <a16:creationId xmlns:a16="http://schemas.microsoft.com/office/drawing/2014/main" id="{5977D3C0-5FAE-4086-B6E3-9410B561A25B}"/>
              </a:ext>
            </a:extLst>
          </p:cNvPr>
          <p:cNvGraphicFramePr>
            <a:graphicFrameLocks noGrp="1"/>
          </p:cNvGraphicFramePr>
          <p:nvPr>
            <p:ph type="chart" idx="1"/>
            <p:extLst>
              <p:ext uri="{D42A27DB-BD31-4B8C-83A1-F6EECF244321}">
                <p14:modId xmlns:p14="http://schemas.microsoft.com/office/powerpoint/2010/main" val="967477503"/>
              </p:ext>
            </p:extLst>
          </p:nvPr>
        </p:nvGraphicFramePr>
        <p:xfrm>
          <a:off x="587375" y="1600200"/>
          <a:ext cx="10972800" cy="4616450"/>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a:extLst>
              <a:ext uri="{FF2B5EF4-FFF2-40B4-BE49-F238E27FC236}">
                <a16:creationId xmlns:a16="http://schemas.microsoft.com/office/drawing/2014/main" id="{2DAC3DEB-DC19-4EE2-9A33-A8B80DE7E831}"/>
              </a:ext>
            </a:extLst>
          </p:cNvPr>
          <p:cNvSpPr>
            <a:spLocks noGrp="1"/>
          </p:cNvSpPr>
          <p:nvPr>
            <p:ph type="title"/>
          </p:nvPr>
        </p:nvSpPr>
        <p:spPr>
          <a:xfrm>
            <a:off x="576001" y="432023"/>
            <a:ext cx="9783850" cy="446789"/>
          </a:xfrm>
        </p:spPr>
        <p:txBody>
          <a:bodyPr>
            <a:spAutoFit/>
          </a:bodyPr>
          <a:lstStyle/>
          <a:p>
            <a:r>
              <a:rPr lang="en-US" dirty="0"/>
              <a:t>Group demand strengthening</a:t>
            </a:r>
          </a:p>
        </p:txBody>
      </p:sp>
      <p:sp>
        <p:nvSpPr>
          <p:cNvPr id="7" name="Text Placeholder 1">
            <a:extLst>
              <a:ext uri="{FF2B5EF4-FFF2-40B4-BE49-F238E27FC236}">
                <a16:creationId xmlns:a16="http://schemas.microsoft.com/office/drawing/2014/main" id="{FEC98628-DB54-418E-A46D-ACE13E318537}"/>
              </a:ext>
            </a:extLst>
          </p:cNvPr>
          <p:cNvSpPr>
            <a:spLocks noGrp="1"/>
          </p:cNvSpPr>
          <p:nvPr>
            <p:ph type="body" sz="quarter" idx="13"/>
          </p:nvPr>
        </p:nvSpPr>
        <p:spPr>
          <a:xfrm>
            <a:off x="576000" y="848167"/>
            <a:ext cx="10187250" cy="400110"/>
          </a:xfrm>
        </p:spPr>
        <p:txBody>
          <a:bodyPr anchor="ctr">
            <a:spAutoFit/>
          </a:bodyPr>
          <a:lstStyle/>
          <a:p>
            <a:pPr>
              <a:lnSpc>
                <a:spcPct val="100000"/>
              </a:lnSpc>
              <a:spcBef>
                <a:spcPts val="0"/>
              </a:spcBef>
            </a:pPr>
            <a:r>
              <a:rPr lang="en-US" dirty="0"/>
              <a:t>U.S. group demand indexed to 2019 (luxury &amp; upper upscale classes only)</a:t>
            </a:r>
          </a:p>
        </p:txBody>
      </p:sp>
    </p:spTree>
    <p:extLst>
      <p:ext uri="{BB962C8B-B14F-4D97-AF65-F5344CB8AC3E}">
        <p14:creationId xmlns:p14="http://schemas.microsoft.com/office/powerpoint/2010/main" val="438866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72C0147B-80E2-4C5D-9C4F-51A73BB6ED7C}"/>
              </a:ext>
            </a:extLst>
          </p:cNvPr>
          <p:cNvGraphicFramePr/>
          <p:nvPr>
            <p:extLst>
              <p:ext uri="{D42A27DB-BD31-4B8C-83A1-F6EECF244321}">
                <p14:modId xmlns:p14="http://schemas.microsoft.com/office/powerpoint/2010/main" val="1797692243"/>
              </p:ext>
            </p:extLst>
          </p:nvPr>
        </p:nvGraphicFramePr>
        <p:xfrm>
          <a:off x="575999" y="1607049"/>
          <a:ext cx="11273100" cy="4603251"/>
        </p:xfrm>
        <a:graphic>
          <a:graphicData uri="http://schemas.openxmlformats.org/drawingml/2006/chart">
            <c:chart xmlns:c="http://schemas.openxmlformats.org/drawingml/2006/chart" xmlns:r="http://schemas.openxmlformats.org/officeDocument/2006/relationships" r:id="rId3"/>
          </a:graphicData>
        </a:graphic>
      </p:graphicFrame>
      <p:sp>
        <p:nvSpPr>
          <p:cNvPr id="11" name="Title 1">
            <a:extLst>
              <a:ext uri="{FF2B5EF4-FFF2-40B4-BE49-F238E27FC236}">
                <a16:creationId xmlns:a16="http://schemas.microsoft.com/office/drawing/2014/main" id="{8CEE78A2-69B0-4652-811B-07B55706B1F7}"/>
              </a:ext>
            </a:extLst>
          </p:cNvPr>
          <p:cNvSpPr>
            <a:spLocks noGrp="1"/>
          </p:cNvSpPr>
          <p:nvPr>
            <p:ph type="title"/>
          </p:nvPr>
        </p:nvSpPr>
        <p:spPr>
          <a:xfrm>
            <a:off x="576001" y="426189"/>
            <a:ext cx="10144872" cy="446789"/>
          </a:xfrm>
        </p:spPr>
        <p:txBody>
          <a:bodyPr wrap="square">
            <a:spAutoFit/>
          </a:bodyPr>
          <a:lstStyle/>
          <a:p>
            <a:r>
              <a:rPr lang="en-US" dirty="0"/>
              <a:t>U.S. occupancy is nearing 2019 levels faster than expected</a:t>
            </a:r>
          </a:p>
        </p:txBody>
      </p:sp>
      <p:sp>
        <p:nvSpPr>
          <p:cNvPr id="12" name="Text Placeholder 3">
            <a:extLst>
              <a:ext uri="{FF2B5EF4-FFF2-40B4-BE49-F238E27FC236}">
                <a16:creationId xmlns:a16="http://schemas.microsoft.com/office/drawing/2014/main" id="{974CC355-1190-4E90-B02F-21BA7C89CC6B}"/>
              </a:ext>
            </a:extLst>
          </p:cNvPr>
          <p:cNvSpPr>
            <a:spLocks noGrp="1"/>
          </p:cNvSpPr>
          <p:nvPr>
            <p:ph type="body" sz="quarter" idx="13"/>
          </p:nvPr>
        </p:nvSpPr>
        <p:spPr>
          <a:xfrm>
            <a:off x="576000" y="827478"/>
            <a:ext cx="11273100" cy="303340"/>
          </a:xfrm>
        </p:spPr>
        <p:txBody>
          <a:bodyPr wrap="none" anchor="ctr"/>
          <a:lstStyle/>
          <a:p>
            <a:r>
              <a:rPr lang="en-US" dirty="0"/>
              <a:t>U.S. occupancy by month </a:t>
            </a:r>
          </a:p>
        </p:txBody>
      </p:sp>
    </p:spTree>
    <p:extLst>
      <p:ext uri="{BB962C8B-B14F-4D97-AF65-F5344CB8AC3E}">
        <p14:creationId xmlns:p14="http://schemas.microsoft.com/office/powerpoint/2010/main" val="2563148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3" name="Rectangle 3"/>
          <p:cNvSpPr>
            <a:spLocks noGrp="1" noChangeArrowheads="1"/>
          </p:cNvSpPr>
          <p:nvPr>
            <p:ph type="title"/>
          </p:nvPr>
        </p:nvSpPr>
        <p:spPr bwMode="auto">
          <a:xfrm>
            <a:off x="576001" y="430139"/>
            <a:ext cx="10320599" cy="453586"/>
          </a:xfrm>
          <a:noFill/>
          <a:ln>
            <a:miter lim="800000"/>
            <a:headEnd/>
            <a:tailEnd/>
          </a:ln>
        </p:spPr>
        <p:txBody>
          <a:bodyPr vert="horz" wrap="square" lIns="91440" tIns="45720" rIns="91440" bIns="45720" numCol="1" rtlCol="0" anchor="ctr" anchorCtr="0" compatLnSpc="1">
            <a:prstTxWarp prst="textNoShape">
              <a:avLst/>
            </a:prstTxWarp>
            <a:spAutoFit/>
          </a:bodyPr>
          <a:lstStyle/>
          <a:p>
            <a:r>
              <a:rPr lang="en-US" dirty="0">
                <a:cs typeface="Arial"/>
              </a:rPr>
              <a:t>Occupancy in Top 25 and CBDs still lagging</a:t>
            </a:r>
          </a:p>
        </p:txBody>
      </p:sp>
      <p:sp>
        <p:nvSpPr>
          <p:cNvPr id="8" name="Text Placeholder 3">
            <a:extLst>
              <a:ext uri="{FF2B5EF4-FFF2-40B4-BE49-F238E27FC236}">
                <a16:creationId xmlns:a16="http://schemas.microsoft.com/office/drawing/2014/main" id="{B4FFE55C-E9A4-4E53-9739-DEFBDE8C20BE}"/>
              </a:ext>
            </a:extLst>
          </p:cNvPr>
          <p:cNvSpPr txBox="1">
            <a:spLocks/>
          </p:cNvSpPr>
          <p:nvPr/>
        </p:nvSpPr>
        <p:spPr>
          <a:xfrm>
            <a:off x="576000" y="856364"/>
            <a:ext cx="11273100" cy="303340"/>
          </a:xfrm>
          <a:prstGeom prst="rect">
            <a:avLst/>
          </a:prstGeom>
        </p:spPr>
        <p:txBody>
          <a:bodyPr vert="horz" lIns="91440" tIns="45720" rIns="91440" bIns="45720" rtlCol="0" anchor="ctr">
            <a:noAutofit/>
          </a:bodyPr>
          <a:lstStyle>
            <a:lvl1pPr marL="0" indent="0" algn="l" defTabSz="1219170" rtl="0" eaLnBrk="1" latinLnBrk="0" hangingPunct="1">
              <a:lnSpc>
                <a:spcPts val="2667"/>
              </a:lnSpc>
              <a:spcBef>
                <a:spcPct val="20000"/>
              </a:spcBef>
              <a:buFont typeface="Arial" panose="020B0604020202020204" pitchFamily="34" charset="0"/>
              <a:buNone/>
              <a:defRPr sz="2000" kern="1200">
                <a:solidFill>
                  <a:schemeClr val="tx1"/>
                </a:solidFill>
                <a:latin typeface="+mn-lt"/>
                <a:ea typeface="+mn-ea"/>
                <a:cs typeface="Arial" pitchFamily="34" charset="0"/>
              </a:defRPr>
            </a:lvl1pPr>
            <a:lvl2pPr marL="990575" indent="-380990" algn="l" defTabSz="1219170" rtl="0" eaLnBrk="1" latinLnBrk="0" hangingPunct="1">
              <a:spcBef>
                <a:spcPct val="20000"/>
              </a:spcBef>
              <a:buFont typeface="Arial" panose="020B0604020202020204" pitchFamily="34" charset="0"/>
              <a:buChar char="–"/>
              <a:defRPr sz="1400" b="0" kern="1200">
                <a:solidFill>
                  <a:schemeClr val="tx1"/>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1400" b="0" kern="1200">
                <a:solidFill>
                  <a:schemeClr val="tx1"/>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133"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en-GB" dirty="0">
                <a:cs typeface="Arial"/>
              </a:rPr>
              <a:t>U.S. monthly occupancy</a:t>
            </a:r>
          </a:p>
        </p:txBody>
      </p:sp>
      <p:graphicFrame>
        <p:nvGraphicFramePr>
          <p:cNvPr id="5" name="Object 2">
            <a:extLst>
              <a:ext uri="{FF2B5EF4-FFF2-40B4-BE49-F238E27FC236}">
                <a16:creationId xmlns:a16="http://schemas.microsoft.com/office/drawing/2014/main" id="{71D56038-2D1F-1E4B-878A-8D3A63371228}"/>
              </a:ext>
            </a:extLst>
          </p:cNvPr>
          <p:cNvGraphicFramePr>
            <a:graphicFrameLocks noChangeAspect="1"/>
          </p:cNvGraphicFramePr>
          <p:nvPr>
            <p:extLst>
              <p:ext uri="{D42A27DB-BD31-4B8C-83A1-F6EECF244321}">
                <p14:modId xmlns:p14="http://schemas.microsoft.com/office/powerpoint/2010/main" val="3388174175"/>
              </p:ext>
            </p:extLst>
          </p:nvPr>
        </p:nvGraphicFramePr>
        <p:xfrm>
          <a:off x="576001" y="1638300"/>
          <a:ext cx="11273100" cy="4648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20680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3" name="Rectangle 3"/>
          <p:cNvSpPr>
            <a:spLocks noGrp="1" noChangeArrowheads="1"/>
          </p:cNvSpPr>
          <p:nvPr>
            <p:ph type="title"/>
          </p:nvPr>
        </p:nvSpPr>
        <p:spPr bwMode="auto">
          <a:xfrm>
            <a:off x="576001" y="426464"/>
            <a:ext cx="10320599" cy="446789"/>
          </a:xfrm>
          <a:noFill/>
          <a:ln>
            <a:miter lim="800000"/>
            <a:headEnd/>
            <a:tailEnd/>
          </a:ln>
        </p:spPr>
        <p:txBody>
          <a:bodyPr vert="horz" wrap="square" lIns="91440" tIns="45720" rIns="91440" bIns="45720" numCol="1" rtlCol="0" anchor="ctr" anchorCtr="0" compatLnSpc="1">
            <a:prstTxWarp prst="textNoShape">
              <a:avLst/>
            </a:prstTxWarp>
            <a:spAutoFit/>
          </a:bodyPr>
          <a:lstStyle/>
          <a:p>
            <a:r>
              <a:rPr lang="en-US" dirty="0"/>
              <a:t>U.S. ADR has strengthened in the past three months</a:t>
            </a:r>
          </a:p>
        </p:txBody>
      </p:sp>
      <p:graphicFrame>
        <p:nvGraphicFramePr>
          <p:cNvPr id="23" name="Object 2"/>
          <p:cNvGraphicFramePr>
            <a:graphicFrameLocks noGrp="1" noChangeAspect="1"/>
          </p:cNvGraphicFramePr>
          <p:nvPr>
            <p:ph idx="4294967295"/>
            <p:extLst>
              <p:ext uri="{D42A27DB-BD31-4B8C-83A1-F6EECF244321}">
                <p14:modId xmlns:p14="http://schemas.microsoft.com/office/powerpoint/2010/main" val="1618241276"/>
              </p:ext>
            </p:extLst>
          </p:nvPr>
        </p:nvGraphicFramePr>
        <p:xfrm>
          <a:off x="576000" y="1600200"/>
          <a:ext cx="11388143" cy="4651277"/>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a:extLst>
              <a:ext uri="{FF2B5EF4-FFF2-40B4-BE49-F238E27FC236}">
                <a16:creationId xmlns:a16="http://schemas.microsoft.com/office/drawing/2014/main" id="{5FE6DDC4-9CB3-4DDA-AE13-80EFF8D2B752}"/>
              </a:ext>
            </a:extLst>
          </p:cNvPr>
          <p:cNvSpPr>
            <a:spLocks noGrp="1"/>
          </p:cNvSpPr>
          <p:nvPr>
            <p:ph type="body" sz="quarter" idx="13"/>
          </p:nvPr>
        </p:nvSpPr>
        <p:spPr>
          <a:xfrm>
            <a:off x="576000" y="842890"/>
            <a:ext cx="11273100" cy="303340"/>
          </a:xfrm>
        </p:spPr>
        <p:txBody>
          <a:bodyPr anchor="ctr"/>
          <a:lstStyle/>
          <a:p>
            <a:pPr>
              <a:lnSpc>
                <a:spcPct val="100000"/>
              </a:lnSpc>
              <a:spcBef>
                <a:spcPts val="0"/>
              </a:spcBef>
            </a:pPr>
            <a:r>
              <a:rPr lang="en-US" dirty="0"/>
              <a:t>U.S. monthly nominal &amp; real (inflation-adjusted) ADR, indexed to 2019</a:t>
            </a:r>
          </a:p>
        </p:txBody>
      </p:sp>
    </p:spTree>
    <p:extLst>
      <p:ext uri="{BB962C8B-B14F-4D97-AF65-F5344CB8AC3E}">
        <p14:creationId xmlns:p14="http://schemas.microsoft.com/office/powerpoint/2010/main" val="1714070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
          <p:cNvGraphicFramePr>
            <a:graphicFrameLocks noGrp="1" noChangeAspect="1"/>
          </p:cNvGraphicFramePr>
          <p:nvPr>
            <p:ph idx="4294967295"/>
            <p:extLst>
              <p:ext uri="{D42A27DB-BD31-4B8C-83A1-F6EECF244321}">
                <p14:modId xmlns:p14="http://schemas.microsoft.com/office/powerpoint/2010/main" val="3735951729"/>
              </p:ext>
            </p:extLst>
          </p:nvPr>
        </p:nvGraphicFramePr>
        <p:xfrm>
          <a:off x="576000" y="1600200"/>
          <a:ext cx="11273099" cy="4614007"/>
        </p:xfrm>
        <a:graphic>
          <a:graphicData uri="http://schemas.openxmlformats.org/drawingml/2006/chart">
            <c:chart xmlns:c="http://schemas.openxmlformats.org/drawingml/2006/chart" xmlns:r="http://schemas.openxmlformats.org/officeDocument/2006/relationships" r:id="rId3"/>
          </a:graphicData>
        </a:graphic>
      </p:graphicFrame>
      <p:sp>
        <p:nvSpPr>
          <p:cNvPr id="92163" name="Rectangle 3"/>
          <p:cNvSpPr>
            <a:spLocks noGrp="1" noChangeArrowheads="1"/>
          </p:cNvSpPr>
          <p:nvPr>
            <p:ph type="title"/>
          </p:nvPr>
        </p:nvSpPr>
        <p:spPr bwMode="auto">
          <a:xfrm>
            <a:off x="576001" y="435938"/>
            <a:ext cx="10320599" cy="446789"/>
          </a:xfrm>
          <a:noFill/>
          <a:ln>
            <a:miter lim="800000"/>
            <a:headEnd/>
            <a:tailEnd/>
          </a:ln>
        </p:spPr>
        <p:txBody>
          <a:bodyPr vert="horz" wrap="square" lIns="91440" tIns="45720" rIns="91440" bIns="45720" numCol="1" rtlCol="0" anchor="ctr" anchorCtr="0" compatLnSpc="1">
            <a:prstTxWarp prst="textNoShape">
              <a:avLst/>
            </a:prstTxWarp>
            <a:spAutoFit/>
          </a:bodyPr>
          <a:lstStyle/>
          <a:p>
            <a:r>
              <a:rPr lang="en-US" dirty="0"/>
              <a:t>Real ADR surpassed 2019 during Q2 2022, except on weekdays</a:t>
            </a:r>
          </a:p>
        </p:txBody>
      </p:sp>
      <p:sp>
        <p:nvSpPr>
          <p:cNvPr id="2" name="TextBox 1">
            <a:extLst>
              <a:ext uri="{FF2B5EF4-FFF2-40B4-BE49-F238E27FC236}">
                <a16:creationId xmlns:a16="http://schemas.microsoft.com/office/drawing/2014/main" id="{2904FF89-61A1-4DDD-8936-D3F0D870325B}"/>
              </a:ext>
            </a:extLst>
          </p:cNvPr>
          <p:cNvSpPr txBox="1"/>
          <p:nvPr/>
        </p:nvSpPr>
        <p:spPr>
          <a:xfrm>
            <a:off x="2158609" y="5898993"/>
            <a:ext cx="1727652" cy="307777"/>
          </a:xfrm>
          <a:prstGeom prst="rect">
            <a:avLst/>
          </a:prstGeom>
          <a:noFill/>
        </p:spPr>
        <p:txBody>
          <a:bodyPr wrap="none" rtlCol="0">
            <a:spAutoFit/>
          </a:bodyPr>
          <a:lstStyle/>
          <a:p>
            <a:pPr algn="ctr"/>
            <a:r>
              <a:rPr lang="en-US" sz="1400" b="1" dirty="0"/>
              <a:t>(Sunday &amp; Thursday)</a:t>
            </a:r>
          </a:p>
        </p:txBody>
      </p:sp>
      <p:sp>
        <p:nvSpPr>
          <p:cNvPr id="5" name="TextBox 4">
            <a:extLst>
              <a:ext uri="{FF2B5EF4-FFF2-40B4-BE49-F238E27FC236}">
                <a16:creationId xmlns:a16="http://schemas.microsoft.com/office/drawing/2014/main" id="{8C52EC66-8E7C-4681-A048-BEE116B6446C}"/>
              </a:ext>
            </a:extLst>
          </p:cNvPr>
          <p:cNvSpPr txBox="1"/>
          <p:nvPr/>
        </p:nvSpPr>
        <p:spPr>
          <a:xfrm>
            <a:off x="5598582" y="5895920"/>
            <a:ext cx="1914178" cy="307777"/>
          </a:xfrm>
          <a:prstGeom prst="rect">
            <a:avLst/>
          </a:prstGeom>
          <a:noFill/>
        </p:spPr>
        <p:txBody>
          <a:bodyPr wrap="none" rtlCol="0">
            <a:spAutoFit/>
          </a:bodyPr>
          <a:lstStyle/>
          <a:p>
            <a:pPr algn="ctr"/>
            <a:r>
              <a:rPr lang="en-US" sz="1400" b="1" dirty="0"/>
              <a:t>(Monday - Wednesday)</a:t>
            </a:r>
          </a:p>
        </p:txBody>
      </p:sp>
      <p:sp>
        <p:nvSpPr>
          <p:cNvPr id="6" name="TextBox 5">
            <a:extLst>
              <a:ext uri="{FF2B5EF4-FFF2-40B4-BE49-F238E27FC236}">
                <a16:creationId xmlns:a16="http://schemas.microsoft.com/office/drawing/2014/main" id="{42C6D335-113D-4CF3-8E3B-C20540F42813}"/>
              </a:ext>
            </a:extLst>
          </p:cNvPr>
          <p:cNvSpPr txBox="1"/>
          <p:nvPr/>
        </p:nvSpPr>
        <p:spPr>
          <a:xfrm>
            <a:off x="9289305" y="5898993"/>
            <a:ext cx="1618585" cy="307777"/>
          </a:xfrm>
          <a:prstGeom prst="rect">
            <a:avLst/>
          </a:prstGeom>
          <a:noFill/>
        </p:spPr>
        <p:txBody>
          <a:bodyPr wrap="none" rtlCol="0">
            <a:spAutoFit/>
          </a:bodyPr>
          <a:lstStyle/>
          <a:p>
            <a:pPr algn="ctr"/>
            <a:r>
              <a:rPr lang="en-US" sz="1400" b="1" dirty="0"/>
              <a:t>(Friday &amp; Saturday)</a:t>
            </a:r>
          </a:p>
        </p:txBody>
      </p:sp>
      <p:sp>
        <p:nvSpPr>
          <p:cNvPr id="8" name="Text Placeholder 3">
            <a:extLst>
              <a:ext uri="{FF2B5EF4-FFF2-40B4-BE49-F238E27FC236}">
                <a16:creationId xmlns:a16="http://schemas.microsoft.com/office/drawing/2014/main" id="{B4FFE55C-E9A4-4E53-9739-DEFBDE8C20BE}"/>
              </a:ext>
            </a:extLst>
          </p:cNvPr>
          <p:cNvSpPr txBox="1">
            <a:spLocks/>
          </p:cNvSpPr>
          <p:nvPr/>
        </p:nvSpPr>
        <p:spPr>
          <a:xfrm>
            <a:off x="576000" y="845394"/>
            <a:ext cx="9783851" cy="303340"/>
          </a:xfrm>
          <a:prstGeom prst="rect">
            <a:avLst/>
          </a:prstGeom>
        </p:spPr>
        <p:txBody>
          <a:bodyPr vert="horz" lIns="91440" tIns="45720" rIns="91440" bIns="45720" rtlCol="0" anchor="ctr">
            <a:noAutofit/>
          </a:bodyPr>
          <a:lstStyle>
            <a:lvl1pPr marL="0" indent="0" algn="l" defTabSz="1219170" rtl="0" eaLnBrk="1" latinLnBrk="0" hangingPunct="1">
              <a:lnSpc>
                <a:spcPts val="2667"/>
              </a:lnSpc>
              <a:spcBef>
                <a:spcPct val="20000"/>
              </a:spcBef>
              <a:buFont typeface="Arial" panose="020B0604020202020204" pitchFamily="34" charset="0"/>
              <a:buNone/>
              <a:defRPr sz="2000" kern="1200">
                <a:solidFill>
                  <a:schemeClr val="tx1"/>
                </a:solidFill>
                <a:latin typeface="+mn-lt"/>
                <a:ea typeface="+mn-ea"/>
                <a:cs typeface="Arial" pitchFamily="34" charset="0"/>
              </a:defRPr>
            </a:lvl1pPr>
            <a:lvl2pPr marL="990575" indent="-380990" algn="l" defTabSz="1219170" rtl="0" eaLnBrk="1" latinLnBrk="0" hangingPunct="1">
              <a:spcBef>
                <a:spcPct val="20000"/>
              </a:spcBef>
              <a:buFont typeface="Arial" panose="020B0604020202020204" pitchFamily="34" charset="0"/>
              <a:buChar char="–"/>
              <a:defRPr sz="1400" b="0" kern="1200">
                <a:solidFill>
                  <a:schemeClr val="tx1"/>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1400" b="0" kern="1200">
                <a:solidFill>
                  <a:schemeClr val="tx1"/>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133"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en-GB" dirty="0"/>
              <a:t>U.S. ADR, indexed to 2019 (matched by day type)</a:t>
            </a:r>
          </a:p>
        </p:txBody>
      </p:sp>
    </p:spTree>
    <p:extLst>
      <p:ext uri="{BB962C8B-B14F-4D97-AF65-F5344CB8AC3E}">
        <p14:creationId xmlns:p14="http://schemas.microsoft.com/office/powerpoint/2010/main" val="2115972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al Logo">
  <a:themeElements>
    <a:clrScheme name="2021 STR colors">
      <a:dk1>
        <a:srgbClr val="3F3F3F"/>
      </a:dk1>
      <a:lt1>
        <a:srgbClr val="FFFFFF"/>
      </a:lt1>
      <a:dk2>
        <a:srgbClr val="1F8776"/>
      </a:dk2>
      <a:lt2>
        <a:srgbClr val="A8E3DA"/>
      </a:lt2>
      <a:accent1>
        <a:srgbClr val="00A88C"/>
      </a:accent1>
      <a:accent2>
        <a:srgbClr val="0863B5"/>
      </a:accent2>
      <a:accent3>
        <a:srgbClr val="48197F"/>
      </a:accent3>
      <a:accent4>
        <a:srgbClr val="00005B"/>
      </a:accent4>
      <a:accent5>
        <a:srgbClr val="ED7014"/>
      </a:accent5>
      <a:accent6>
        <a:srgbClr val="0B6838"/>
      </a:accent6>
      <a:hlink>
        <a:srgbClr val="248679"/>
      </a:hlink>
      <a:folHlink>
        <a:srgbClr val="A8E3D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TR_MasterSlides_2021" id="{C48F3BF2-7FAE-47A9-85D0-FC71AB9F7987}" vid="{443FD011-3293-4FD6-B1BD-258F83D9F2FE}"/>
    </a:ext>
  </a:extLst>
</a:theme>
</file>

<file path=ppt/theme/theme2.xml><?xml version="1.0" encoding="utf-8"?>
<a:theme xmlns:a="http://schemas.openxmlformats.org/drawingml/2006/main" name="1_Teal Logo">
  <a:themeElements>
    <a:clrScheme name="2021 STR colors">
      <a:dk1>
        <a:srgbClr val="3F3F3F"/>
      </a:dk1>
      <a:lt1>
        <a:srgbClr val="FFFFFF"/>
      </a:lt1>
      <a:dk2>
        <a:srgbClr val="1F8776"/>
      </a:dk2>
      <a:lt2>
        <a:srgbClr val="A8E3DA"/>
      </a:lt2>
      <a:accent1>
        <a:srgbClr val="00A88C"/>
      </a:accent1>
      <a:accent2>
        <a:srgbClr val="0863B5"/>
      </a:accent2>
      <a:accent3>
        <a:srgbClr val="48197F"/>
      </a:accent3>
      <a:accent4>
        <a:srgbClr val="00005B"/>
      </a:accent4>
      <a:accent5>
        <a:srgbClr val="ED7014"/>
      </a:accent5>
      <a:accent6>
        <a:srgbClr val="0B6838"/>
      </a:accent6>
      <a:hlink>
        <a:srgbClr val="248679"/>
      </a:hlink>
      <a:folHlink>
        <a:srgbClr val="A8E3D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TR_MasterSlides_2021_jan" id="{49B4B2AB-2BCE-4F4F-9A55-76004165F6AF}" vid="{1CA18D02-BFDD-E24D-8862-E3196497BA3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ntelligentDocuments 9">
    <a:dk1>
      <a:srgbClr val="7A0200"/>
    </a:dk1>
    <a:lt1>
      <a:srgbClr val="FFFFFF"/>
    </a:lt1>
    <a:dk2>
      <a:srgbClr val="FFFFFF"/>
    </a:dk2>
    <a:lt2>
      <a:srgbClr val="E7E7E9"/>
    </a:lt2>
    <a:accent1>
      <a:srgbClr val="D74119"/>
    </a:accent1>
    <a:accent2>
      <a:srgbClr val="E27023"/>
    </a:accent2>
    <a:accent3>
      <a:srgbClr val="FFFFFF"/>
    </a:accent3>
    <a:accent4>
      <a:srgbClr val="670100"/>
    </a:accent4>
    <a:accent5>
      <a:srgbClr val="E8B0AB"/>
    </a:accent5>
    <a:accent6>
      <a:srgbClr val="CD651F"/>
    </a:accent6>
    <a:hlink>
      <a:srgbClr val="E4028C"/>
    </a:hlink>
    <a:folHlink>
      <a:srgbClr val="AA2D91"/>
    </a:folHlink>
  </a:clrScheme>
  <a:fontScheme name="IntelligentDocume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telligentDocuments 9">
    <a:dk1>
      <a:srgbClr val="7A0200"/>
    </a:dk1>
    <a:lt1>
      <a:srgbClr val="FFFFFF"/>
    </a:lt1>
    <a:dk2>
      <a:srgbClr val="FFFFFF"/>
    </a:dk2>
    <a:lt2>
      <a:srgbClr val="E7E7E9"/>
    </a:lt2>
    <a:accent1>
      <a:srgbClr val="D74119"/>
    </a:accent1>
    <a:accent2>
      <a:srgbClr val="E27023"/>
    </a:accent2>
    <a:accent3>
      <a:srgbClr val="FFFFFF"/>
    </a:accent3>
    <a:accent4>
      <a:srgbClr val="670100"/>
    </a:accent4>
    <a:accent5>
      <a:srgbClr val="E8B0AB"/>
    </a:accent5>
    <a:accent6>
      <a:srgbClr val="CD651F"/>
    </a:accent6>
    <a:hlink>
      <a:srgbClr val="E4028C"/>
    </a:hlink>
    <a:folHlink>
      <a:srgbClr val="AA2D91"/>
    </a:folHlink>
  </a:clrScheme>
  <a:fontScheme name="IntelligentDocume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telligentDocuments 9">
    <a:dk1>
      <a:srgbClr val="7A0200"/>
    </a:dk1>
    <a:lt1>
      <a:srgbClr val="FFFFFF"/>
    </a:lt1>
    <a:dk2>
      <a:srgbClr val="FFFFFF"/>
    </a:dk2>
    <a:lt2>
      <a:srgbClr val="E7E7E9"/>
    </a:lt2>
    <a:accent1>
      <a:srgbClr val="D74119"/>
    </a:accent1>
    <a:accent2>
      <a:srgbClr val="E27023"/>
    </a:accent2>
    <a:accent3>
      <a:srgbClr val="FFFFFF"/>
    </a:accent3>
    <a:accent4>
      <a:srgbClr val="670100"/>
    </a:accent4>
    <a:accent5>
      <a:srgbClr val="E8B0AB"/>
    </a:accent5>
    <a:accent6>
      <a:srgbClr val="CD651F"/>
    </a:accent6>
    <a:hlink>
      <a:srgbClr val="E4028C"/>
    </a:hlink>
    <a:folHlink>
      <a:srgbClr val="AA2D91"/>
    </a:folHlink>
  </a:clrScheme>
  <a:fontScheme name="IntelligentDocume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IntelligentDocuments 9">
    <a:dk1>
      <a:srgbClr val="7A0200"/>
    </a:dk1>
    <a:lt1>
      <a:srgbClr val="FFFFFF"/>
    </a:lt1>
    <a:dk2>
      <a:srgbClr val="FFFFFF"/>
    </a:dk2>
    <a:lt2>
      <a:srgbClr val="E7E7E9"/>
    </a:lt2>
    <a:accent1>
      <a:srgbClr val="D74119"/>
    </a:accent1>
    <a:accent2>
      <a:srgbClr val="E27023"/>
    </a:accent2>
    <a:accent3>
      <a:srgbClr val="FFFFFF"/>
    </a:accent3>
    <a:accent4>
      <a:srgbClr val="670100"/>
    </a:accent4>
    <a:accent5>
      <a:srgbClr val="E8B0AB"/>
    </a:accent5>
    <a:accent6>
      <a:srgbClr val="CD651F"/>
    </a:accent6>
    <a:hlink>
      <a:srgbClr val="E4028C"/>
    </a:hlink>
    <a:folHlink>
      <a:srgbClr val="AA2D91"/>
    </a:folHlink>
  </a:clrScheme>
  <a:fontScheme name="IntelligentDocume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BC1E01F4AB78E4C9A2435C4BCE594BF" ma:contentTypeVersion="8" ma:contentTypeDescription="Create a new document." ma:contentTypeScope="" ma:versionID="ddbbda10f913359ca0b68a9f9ce97844">
  <xsd:schema xmlns:xsd="http://www.w3.org/2001/XMLSchema" xmlns:xs="http://www.w3.org/2001/XMLSchema" xmlns:p="http://schemas.microsoft.com/office/2006/metadata/properties" xmlns:ns3="efb60529-62e2-4f72-bd7e-371cd66cf77e" targetNamespace="http://schemas.microsoft.com/office/2006/metadata/properties" ma:root="true" ma:fieldsID="bd66bc26eca6a318bf8165aa8172e127" ns3:_="">
    <xsd:import namespace="efb60529-62e2-4f72-bd7e-371cd66cf77e"/>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fb60529-62e2-4f72-bd7e-371cd66cf7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B3FD67F-650B-49B1-8705-615019A17865}">
  <ds:schemaRefs>
    <ds:schemaRef ds:uri="http://schemas.microsoft.com/sharepoint/v3/contenttype/forms"/>
  </ds:schemaRefs>
</ds:datastoreItem>
</file>

<file path=customXml/itemProps2.xml><?xml version="1.0" encoding="utf-8"?>
<ds:datastoreItem xmlns:ds="http://schemas.openxmlformats.org/officeDocument/2006/customXml" ds:itemID="{F01CDAB5-BCC9-4980-BDC0-1DAA7691D5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fb60529-62e2-4f72-bd7e-371cd66cf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B95F0D2-843B-4161-A7A1-D7F16A6D9EFB}">
  <ds:schemaRefs>
    <ds:schemaRef ds:uri="efb60529-62e2-4f72-bd7e-371cd66cf77e"/>
    <ds:schemaRef ds:uri="http://purl.org/dc/elements/1.1/"/>
    <ds:schemaRef ds:uri="http://purl.org/dc/dcmitype/"/>
    <ds:schemaRef ds:uri="http://schemas.microsoft.com/office/2006/documentManagement/types"/>
    <ds:schemaRef ds:uri="http://schemas.microsoft.com/office/2006/metadata/properties"/>
    <ds:schemaRef ds:uri="http://www.w3.org/XML/1998/namespace"/>
    <ds:schemaRef ds:uri="http://purl.org/dc/terms/"/>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otalTime>19544</TotalTime>
  <Words>1265</Words>
  <Application>Microsoft Office PowerPoint</Application>
  <PresentationFormat>Widescreen</PresentationFormat>
  <Paragraphs>123</Paragraphs>
  <Slides>23</Slides>
  <Notes>18</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3" baseType="lpstr">
      <vt:lpstr>Arial</vt:lpstr>
      <vt:lpstr>Calibri</vt:lpstr>
      <vt:lpstr>Lato Light</vt:lpstr>
      <vt:lpstr>Open Sans Light</vt:lpstr>
      <vt:lpstr>Open Sans Semibold</vt:lpstr>
      <vt:lpstr>Raleway Light</vt:lpstr>
      <vt:lpstr>Source Sans Pro Light</vt:lpstr>
      <vt:lpstr>Teal Logo</vt:lpstr>
      <vt:lpstr>1_Teal Logo</vt:lpstr>
      <vt:lpstr>think-cell Slide</vt:lpstr>
      <vt:lpstr>The Lodging Industry</vt:lpstr>
      <vt:lpstr>PowerPoint Presentation</vt:lpstr>
      <vt:lpstr>U.S. room demand near peak</vt:lpstr>
      <vt:lpstr>Largest demand gap remains in business travel days</vt:lpstr>
      <vt:lpstr>Group demand strengthening</vt:lpstr>
      <vt:lpstr>U.S. occupancy is nearing 2019 levels faster than expected</vt:lpstr>
      <vt:lpstr>Occupancy in Top 25 and CBDs still lagging</vt:lpstr>
      <vt:lpstr>U.S. ADR has strengthened in the past three months</vt:lpstr>
      <vt:lpstr>Real ADR surpassed 2019 during Q2 2022, except on weekdays</vt:lpstr>
      <vt:lpstr>U.S. RevPAR near “peak” RevPAR</vt:lpstr>
      <vt:lpstr>Memphis, TN</vt:lpstr>
      <vt:lpstr>Memphis KPIs improving</vt:lpstr>
      <vt:lpstr>Memphis room demand above 2019</vt:lpstr>
      <vt:lpstr>Strong summer so far</vt:lpstr>
      <vt:lpstr>Occupancy increasing</vt:lpstr>
      <vt:lpstr>ADR growing strongly</vt:lpstr>
      <vt:lpstr>Downtown lagging</vt:lpstr>
      <vt:lpstr>PowerPoint Presentation</vt:lpstr>
      <vt:lpstr>Occupancy, ADR and RevPAR at record highs by 2025</vt:lpstr>
      <vt:lpstr>In real terms, full RevPAR recovery is projected in 2024</vt:lpstr>
      <vt:lpstr>Leisure will continue to lead the recovery</vt:lpstr>
      <vt:lpstr>Real RevPAR recovery for CBDs and Top 25 Markets to come after 2024. </vt:lpstr>
      <vt:lpstr>Questions/Com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Lodging Industry</dc:title>
  <dc:creator>Isaac Collazo</dc:creator>
  <cp:lastModifiedBy>Isaac Collazo</cp:lastModifiedBy>
  <cp:revision>20</cp:revision>
  <dcterms:created xsi:type="dcterms:W3CDTF">2021-01-16T15:44:50Z</dcterms:created>
  <dcterms:modified xsi:type="dcterms:W3CDTF">2022-08-22T15:2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BC1E01F4AB78E4C9A2435C4BCE594BF</vt:lpwstr>
  </property>
</Properties>
</file>